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  <p:sldMasterId id="2147483685" r:id="rId4"/>
  </p:sldMasterIdLst>
  <p:notesMasterIdLst>
    <p:notesMasterId r:id="rId23"/>
  </p:notesMasterIdLst>
  <p:handoutMasterIdLst>
    <p:handoutMasterId r:id="rId24"/>
  </p:handoutMasterIdLst>
  <p:sldIdLst>
    <p:sldId id="2145706795" r:id="rId5"/>
    <p:sldId id="2145706798" r:id="rId6"/>
    <p:sldId id="2145706799" r:id="rId7"/>
    <p:sldId id="301" r:id="rId8"/>
    <p:sldId id="2145706451" r:id="rId9"/>
    <p:sldId id="2145706471" r:id="rId10"/>
    <p:sldId id="2145706800" r:id="rId11"/>
    <p:sldId id="2145706474" r:id="rId12"/>
    <p:sldId id="2145706502" r:id="rId13"/>
    <p:sldId id="2145706801" r:id="rId14"/>
    <p:sldId id="2145706802" r:id="rId15"/>
    <p:sldId id="293" r:id="rId16"/>
    <p:sldId id="2145706794" r:id="rId17"/>
    <p:sldId id="2145706804" r:id="rId18"/>
    <p:sldId id="2145706805" r:id="rId19"/>
    <p:sldId id="2145706803" r:id="rId20"/>
    <p:sldId id="2145706789" r:id="rId21"/>
    <p:sldId id="2145706792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kyeampong, Mame Afua (CDC/CGH/DGHP)" initials="AMA(" lastIdx="11" clrIdx="0">
    <p:extLst>
      <p:ext uri="{19B8F6BF-5375-455C-9EA6-DF929625EA0E}">
        <p15:presenceInfo xmlns:p15="http://schemas.microsoft.com/office/powerpoint/2012/main" userId="S-1-5-21-1207783550-2075000910-922709458-536062" providerId="AD"/>
      </p:ext>
    </p:extLst>
  </p:cmAuthor>
  <p:cmAuthor id="2" name="Abad, Neetu S. (CDC/DDPHSIS/CGH/GID)" initials="ANS(" lastIdx="6" clrIdx="1">
    <p:extLst>
      <p:ext uri="{19B8F6BF-5375-455C-9EA6-DF929625EA0E}">
        <p15:presenceInfo xmlns:p15="http://schemas.microsoft.com/office/powerpoint/2012/main" userId="S-1-5-21-1207783550-2075000910-922709458-349442" providerId="AD"/>
      </p:ext>
    </p:extLst>
  </p:cmAuthor>
  <p:cmAuthor id="3" name="MENNING, Lisa" initials="ML" lastIdx="9" clrIdx="2">
    <p:extLst>
      <p:ext uri="{19B8F6BF-5375-455C-9EA6-DF929625EA0E}">
        <p15:presenceInfo xmlns:p15="http://schemas.microsoft.com/office/powerpoint/2012/main" userId="S-1-5-21-1446143339-2250552318-1255726049-144532" providerId="AD"/>
      </p:ext>
    </p:extLst>
  </p:cmAuthor>
  <p:cmAuthor id="4" name="Patel, Palak (CDC/DDPHSIS/CGH/GID)" initials="PP(" lastIdx="1" clrIdx="3">
    <p:extLst>
      <p:ext uri="{19B8F6BF-5375-455C-9EA6-DF929625EA0E}">
        <p15:presenceInfo xmlns:p15="http://schemas.microsoft.com/office/powerpoint/2012/main" userId="S-1-5-21-1207783550-2075000910-922709458-676069" providerId="AD"/>
      </p:ext>
    </p:extLst>
  </p:cmAuthor>
  <p:cmAuthor id="5" name="Wilhelm, Elisabeth (CDC/DDPHSIS/CGH/GID)" initials="WE(" lastIdx="2" clrIdx="4">
    <p:extLst>
      <p:ext uri="{19B8F6BF-5375-455C-9EA6-DF929625EA0E}">
        <p15:presenceInfo xmlns:p15="http://schemas.microsoft.com/office/powerpoint/2012/main" userId="S::nla5@cdc.gov::ad55164f-8c17-4f31-9f2e-028bde2e5d3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B9E87"/>
    <a:srgbClr val="FC7A1D"/>
    <a:srgbClr val="FF0066"/>
    <a:srgbClr val="9966FF"/>
    <a:srgbClr val="00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E02FF1E-CB2C-4717-980B-7CA59D060EAD}" v="11" dt="2022-06-27T16:52:26.319"/>
    <p1510:client id="{2DDAFF97-60AB-4303-BA69-12C33F6601ED}" v="232" dt="2022-06-29T11:10:24.141"/>
    <p1510:client id="{302F2FFD-BA36-4C0F-8F36-55E248E25741}" v="1" dt="2022-07-02T17:31:14.748"/>
    <p1510:client id="{314E05FE-0AAE-4B26-84F0-6AC2D2152334}" v="10" dt="2022-07-20T13:38:57.264"/>
    <p1510:client id="{72EE59B7-C92D-4667-8E1C-1B115DDA5C06}" v="1" dt="2022-06-27T16:55:26.210"/>
    <p1510:client id="{D6B408C3-4134-40B4-93B4-C66FB6EA5F65}" v="56" dt="2022-07-05T14:23:40.646"/>
    <p1510:client id="{D72FAA79-5935-40F5-86FB-30880AEBD2B5}" v="5" dt="2022-07-09T13:28:28.123"/>
    <p1510:client id="{DA95E3FD-5681-4623-BC61-0CE5E1382687}" v="9" dt="2022-06-29T19:06:45.788"/>
    <p1510:client id="{E71B5853-201F-4FF3-BE68-6BDB37F15318}" v="9" dt="2022-06-23T22:21:45.532"/>
    <p1510:client id="{E775FC8C-CD7C-4AE4-9E17-4D64C4433663}" v="6" dt="2022-07-20T14:20:42.0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9" d="100"/>
          <a:sy n="99" d="100"/>
        </p:scale>
        <p:origin x="306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microsoft.com/office/2015/10/relationships/revisionInfo" Target="revisionInfo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uest User" userId="e2fbebf8aab59d5d" providerId="Windows Live" clId="Web-{D72FAA79-5935-40F5-86FB-30880AEBD2B5}"/>
    <pc:docChg chg="modSld">
      <pc:chgData name="Guest User" userId="e2fbebf8aab59d5d" providerId="Windows Live" clId="Web-{D72FAA79-5935-40F5-86FB-30880AEBD2B5}" dt="2022-07-09T13:28:28.123" v="4" actId="20577"/>
      <pc:docMkLst>
        <pc:docMk/>
      </pc:docMkLst>
      <pc:sldChg chg="modSp">
        <pc:chgData name="Guest User" userId="e2fbebf8aab59d5d" providerId="Windows Live" clId="Web-{D72FAA79-5935-40F5-86FB-30880AEBD2B5}" dt="2022-07-09T13:28:28.123" v="4" actId="20577"/>
        <pc:sldMkLst>
          <pc:docMk/>
          <pc:sldMk cId="2703737329" sldId="2145706795"/>
        </pc:sldMkLst>
        <pc:spChg chg="mod">
          <ac:chgData name="Guest User" userId="e2fbebf8aab59d5d" providerId="Windows Live" clId="Web-{D72FAA79-5935-40F5-86FB-30880AEBD2B5}" dt="2022-07-09T13:28:28.123" v="4" actId="20577"/>
          <ac:spMkLst>
            <pc:docMk/>
            <pc:sldMk cId="2703737329" sldId="2145706795"/>
            <ac:spMk id="2" creationId="{7E4163C3-3D49-14F0-103B-C4A6893E031E}"/>
          </ac:spMkLst>
        </pc:spChg>
      </pc:sldChg>
    </pc:docChg>
  </pc:docChgLst>
  <pc:docChgLst>
    <pc:chgData name="Crystal Bruce" userId="14427a4ffe69d2bf" providerId="Windows Live" clId="Web-{E775FC8C-CD7C-4AE4-9E17-4D64C4433663}"/>
    <pc:docChg chg="modSld">
      <pc:chgData name="Crystal Bruce" userId="14427a4ffe69d2bf" providerId="Windows Live" clId="Web-{E775FC8C-CD7C-4AE4-9E17-4D64C4433663}" dt="2022-07-20T14:20:42.051" v="5" actId="1076"/>
      <pc:docMkLst>
        <pc:docMk/>
      </pc:docMkLst>
      <pc:sldChg chg="modSp">
        <pc:chgData name="Crystal Bruce" userId="14427a4ffe69d2bf" providerId="Windows Live" clId="Web-{E775FC8C-CD7C-4AE4-9E17-4D64C4433663}" dt="2022-07-20T14:20:42.051" v="5" actId="1076"/>
        <pc:sldMkLst>
          <pc:docMk/>
          <pc:sldMk cId="3956647517" sldId="2145706800"/>
        </pc:sldMkLst>
        <pc:spChg chg="mod">
          <ac:chgData name="Crystal Bruce" userId="14427a4ffe69d2bf" providerId="Windows Live" clId="Web-{E775FC8C-CD7C-4AE4-9E17-4D64C4433663}" dt="2022-07-20T14:20:42.051" v="5" actId="1076"/>
          <ac:spMkLst>
            <pc:docMk/>
            <pc:sldMk cId="3956647517" sldId="2145706800"/>
            <ac:spMk id="2" creationId="{858F2192-6A2F-41D8-B014-0CC664230F74}"/>
          </ac:spMkLst>
        </pc:spChg>
      </pc:sldChg>
    </pc:docChg>
  </pc:docChgLst>
  <pc:docChgLst>
    <pc:chgData name="Catherine BERTRAND-FERRANDIS" userId="35f10b5a1ac5f9e6" providerId="Windows Live" clId="Web-{2DDAFF97-60AB-4303-BA69-12C33F6601ED}"/>
    <pc:docChg chg="modSld">
      <pc:chgData name="Catherine BERTRAND-FERRANDIS" userId="35f10b5a1ac5f9e6" providerId="Windows Live" clId="Web-{2DDAFF97-60AB-4303-BA69-12C33F6601ED}" dt="2022-06-29T11:10:24.141" v="207" actId="20577"/>
      <pc:docMkLst>
        <pc:docMk/>
      </pc:docMkLst>
      <pc:sldChg chg="modSp">
        <pc:chgData name="Catherine BERTRAND-FERRANDIS" userId="35f10b5a1ac5f9e6" providerId="Windows Live" clId="Web-{2DDAFF97-60AB-4303-BA69-12C33F6601ED}" dt="2022-06-29T10:56:35.659" v="105" actId="1076"/>
        <pc:sldMkLst>
          <pc:docMk/>
          <pc:sldMk cId="2529256594" sldId="293"/>
        </pc:sldMkLst>
        <pc:spChg chg="mod">
          <ac:chgData name="Catherine BERTRAND-FERRANDIS" userId="35f10b5a1ac5f9e6" providerId="Windows Live" clId="Web-{2DDAFF97-60AB-4303-BA69-12C33F6601ED}" dt="2022-06-29T10:53:54.703" v="88" actId="20577"/>
          <ac:spMkLst>
            <pc:docMk/>
            <pc:sldMk cId="2529256594" sldId="293"/>
            <ac:spMk id="2" creationId="{00000000-0000-0000-0000-000000000000}"/>
          </ac:spMkLst>
        </pc:spChg>
        <pc:spChg chg="mod">
          <ac:chgData name="Catherine BERTRAND-FERRANDIS" userId="35f10b5a1ac5f9e6" providerId="Windows Live" clId="Web-{2DDAFF97-60AB-4303-BA69-12C33F6601ED}" dt="2022-06-29T10:54:44.704" v="103" actId="14100"/>
          <ac:spMkLst>
            <pc:docMk/>
            <pc:sldMk cId="2529256594" sldId="293"/>
            <ac:spMk id="14" creationId="{00000000-0000-0000-0000-000000000000}"/>
          </ac:spMkLst>
        </pc:spChg>
        <pc:spChg chg="mod">
          <ac:chgData name="Catherine BERTRAND-FERRANDIS" userId="35f10b5a1ac5f9e6" providerId="Windows Live" clId="Web-{2DDAFF97-60AB-4303-BA69-12C33F6601ED}" dt="2022-06-29T10:53:58.984" v="89" actId="1076"/>
          <ac:spMkLst>
            <pc:docMk/>
            <pc:sldMk cId="2529256594" sldId="293"/>
            <ac:spMk id="22" creationId="{00000000-0000-0000-0000-000000000000}"/>
          </ac:spMkLst>
        </pc:spChg>
        <pc:spChg chg="mod">
          <ac:chgData name="Catherine BERTRAND-FERRANDIS" userId="35f10b5a1ac5f9e6" providerId="Windows Live" clId="Web-{2DDAFF97-60AB-4303-BA69-12C33F6601ED}" dt="2022-06-29T10:56:19.096" v="104" actId="1076"/>
          <ac:spMkLst>
            <pc:docMk/>
            <pc:sldMk cId="2529256594" sldId="293"/>
            <ac:spMk id="123" creationId="{00000000-0000-0000-0000-000000000000}"/>
          </ac:spMkLst>
        </pc:spChg>
        <pc:spChg chg="mod">
          <ac:chgData name="Catherine BERTRAND-FERRANDIS" userId="35f10b5a1ac5f9e6" providerId="Windows Live" clId="Web-{2DDAFF97-60AB-4303-BA69-12C33F6601ED}" dt="2022-06-29T10:56:35.659" v="105" actId="1076"/>
          <ac:spMkLst>
            <pc:docMk/>
            <pc:sldMk cId="2529256594" sldId="293"/>
            <ac:spMk id="124" creationId="{00000000-0000-0000-0000-000000000000}"/>
          </ac:spMkLst>
        </pc:spChg>
        <pc:spChg chg="mod">
          <ac:chgData name="Catherine BERTRAND-FERRANDIS" userId="35f10b5a1ac5f9e6" providerId="Windows Live" clId="Web-{2DDAFF97-60AB-4303-BA69-12C33F6601ED}" dt="2022-06-29T10:54:27.766" v="101" actId="1076"/>
          <ac:spMkLst>
            <pc:docMk/>
            <pc:sldMk cId="2529256594" sldId="293"/>
            <ac:spMk id="128" creationId="{00000000-0000-0000-0000-000000000000}"/>
          </ac:spMkLst>
        </pc:spChg>
      </pc:sldChg>
      <pc:sldChg chg="modSp">
        <pc:chgData name="Catherine BERTRAND-FERRANDIS" userId="35f10b5a1ac5f9e6" providerId="Windows Live" clId="Web-{2DDAFF97-60AB-4303-BA69-12C33F6601ED}" dt="2022-06-29T10:21:04.045" v="18" actId="1076"/>
        <pc:sldMkLst>
          <pc:docMk/>
          <pc:sldMk cId="3150691971" sldId="301"/>
        </pc:sldMkLst>
        <pc:spChg chg="mod">
          <ac:chgData name="Catherine BERTRAND-FERRANDIS" userId="35f10b5a1ac5f9e6" providerId="Windows Live" clId="Web-{2DDAFF97-60AB-4303-BA69-12C33F6601ED}" dt="2022-06-29T10:20:52.435" v="15" actId="1076"/>
          <ac:spMkLst>
            <pc:docMk/>
            <pc:sldMk cId="3150691971" sldId="301"/>
            <ac:spMk id="2" creationId="{00000000-0000-0000-0000-000000000000}"/>
          </ac:spMkLst>
        </pc:spChg>
        <pc:spChg chg="mod">
          <ac:chgData name="Catherine BERTRAND-FERRANDIS" userId="35f10b5a1ac5f9e6" providerId="Windows Live" clId="Web-{2DDAFF97-60AB-4303-BA69-12C33F6601ED}" dt="2022-06-29T10:20:10.184" v="6" actId="1076"/>
          <ac:spMkLst>
            <pc:docMk/>
            <pc:sldMk cId="3150691971" sldId="301"/>
            <ac:spMk id="13" creationId="{90715800-8765-4362-AD5F-2DD5CCE3646B}"/>
          </ac:spMkLst>
        </pc:spChg>
        <pc:picChg chg="mod">
          <ac:chgData name="Catherine BERTRAND-FERRANDIS" userId="35f10b5a1ac5f9e6" providerId="Windows Live" clId="Web-{2DDAFF97-60AB-4303-BA69-12C33F6601ED}" dt="2022-06-29T10:20:05.450" v="5" actId="1076"/>
          <ac:picMkLst>
            <pc:docMk/>
            <pc:sldMk cId="3150691971" sldId="301"/>
            <ac:picMk id="4100" creationId="{52A67BDB-6C02-41A3-9ACD-F26B4069CB73}"/>
          </ac:picMkLst>
        </pc:picChg>
        <pc:picChg chg="mod">
          <ac:chgData name="Catherine BERTRAND-FERRANDIS" userId="35f10b5a1ac5f9e6" providerId="Windows Live" clId="Web-{2DDAFF97-60AB-4303-BA69-12C33F6601ED}" dt="2022-06-29T10:21:04.045" v="18" actId="1076"/>
          <ac:picMkLst>
            <pc:docMk/>
            <pc:sldMk cId="3150691971" sldId="301"/>
            <ac:picMk id="4102" creationId="{72A74E25-D722-4FD3-933D-457B5C79AAE4}"/>
          </ac:picMkLst>
        </pc:picChg>
        <pc:picChg chg="mod">
          <ac:chgData name="Catherine BERTRAND-FERRANDIS" userId="35f10b5a1ac5f9e6" providerId="Windows Live" clId="Web-{2DDAFF97-60AB-4303-BA69-12C33F6601ED}" dt="2022-06-29T10:21:02.092" v="17" actId="1076"/>
          <ac:picMkLst>
            <pc:docMk/>
            <pc:sldMk cId="3150691971" sldId="301"/>
            <ac:picMk id="4104" creationId="{0E915DD1-0632-4785-98B0-B59DCC6A791B}"/>
          </ac:picMkLst>
        </pc:picChg>
        <pc:picChg chg="mod">
          <ac:chgData name="Catherine BERTRAND-FERRANDIS" userId="35f10b5a1ac5f9e6" providerId="Windows Live" clId="Web-{2DDAFF97-60AB-4303-BA69-12C33F6601ED}" dt="2022-06-29T10:21:00.295" v="16" actId="1076"/>
          <ac:picMkLst>
            <pc:docMk/>
            <pc:sldMk cId="3150691971" sldId="301"/>
            <ac:picMk id="4108" creationId="{E29D92EE-DA3B-4755-A7D2-C7D13CB515D3}"/>
          </ac:picMkLst>
        </pc:picChg>
      </pc:sldChg>
      <pc:sldChg chg="modSp">
        <pc:chgData name="Catherine BERTRAND-FERRANDIS" userId="35f10b5a1ac5f9e6" providerId="Windows Live" clId="Web-{2DDAFF97-60AB-4303-BA69-12C33F6601ED}" dt="2022-06-29T10:34:09.574" v="35" actId="20577"/>
        <pc:sldMkLst>
          <pc:docMk/>
          <pc:sldMk cId="490105619" sldId="2145706451"/>
        </pc:sldMkLst>
        <pc:spChg chg="mod">
          <ac:chgData name="Catherine BERTRAND-FERRANDIS" userId="35f10b5a1ac5f9e6" providerId="Windows Live" clId="Web-{2DDAFF97-60AB-4303-BA69-12C33F6601ED}" dt="2022-06-29T10:34:09.574" v="35" actId="20577"/>
          <ac:spMkLst>
            <pc:docMk/>
            <pc:sldMk cId="490105619" sldId="2145706451"/>
            <ac:spMk id="3" creationId="{867CAF88-4CE5-460E-B49E-62C548C5323F}"/>
          </ac:spMkLst>
        </pc:spChg>
      </pc:sldChg>
      <pc:sldChg chg="modSp">
        <pc:chgData name="Catherine BERTRAND-FERRANDIS" userId="35f10b5a1ac5f9e6" providerId="Windows Live" clId="Web-{2DDAFF97-60AB-4303-BA69-12C33F6601ED}" dt="2022-06-29T10:34:44.558" v="38" actId="1076"/>
        <pc:sldMkLst>
          <pc:docMk/>
          <pc:sldMk cId="3217575340" sldId="2145706471"/>
        </pc:sldMkLst>
        <pc:spChg chg="mod">
          <ac:chgData name="Catherine BERTRAND-FERRANDIS" userId="35f10b5a1ac5f9e6" providerId="Windows Live" clId="Web-{2DDAFF97-60AB-4303-BA69-12C33F6601ED}" dt="2022-06-29T10:34:44.558" v="38" actId="1076"/>
          <ac:spMkLst>
            <pc:docMk/>
            <pc:sldMk cId="3217575340" sldId="2145706471"/>
            <ac:spMk id="3" creationId="{867CAF88-4CE5-460E-B49E-62C548C5323F}"/>
          </ac:spMkLst>
        </pc:spChg>
      </pc:sldChg>
      <pc:sldChg chg="modSp">
        <pc:chgData name="Catherine BERTRAND-FERRANDIS" userId="35f10b5a1ac5f9e6" providerId="Windows Live" clId="Web-{2DDAFF97-60AB-4303-BA69-12C33F6601ED}" dt="2022-06-29T10:50:16.121" v="68" actId="20577"/>
        <pc:sldMkLst>
          <pc:docMk/>
          <pc:sldMk cId="3831573092" sldId="2145706474"/>
        </pc:sldMkLst>
        <pc:spChg chg="mod">
          <ac:chgData name="Catherine BERTRAND-FERRANDIS" userId="35f10b5a1ac5f9e6" providerId="Windows Live" clId="Web-{2DDAFF97-60AB-4303-BA69-12C33F6601ED}" dt="2022-06-29T10:39:21.751" v="41"/>
          <ac:spMkLst>
            <pc:docMk/>
            <pc:sldMk cId="3831573092" sldId="2145706474"/>
            <ac:spMk id="2" creationId="{858F2192-6A2F-41D8-B014-0CC664230F74}"/>
          </ac:spMkLst>
        </pc:spChg>
        <pc:spChg chg="mod">
          <ac:chgData name="Catherine BERTRAND-FERRANDIS" userId="35f10b5a1ac5f9e6" providerId="Windows Live" clId="Web-{2DDAFF97-60AB-4303-BA69-12C33F6601ED}" dt="2022-06-29T10:50:16.121" v="68" actId="20577"/>
          <ac:spMkLst>
            <pc:docMk/>
            <pc:sldMk cId="3831573092" sldId="2145706474"/>
            <ac:spMk id="3" creationId="{867CAF88-4CE5-460E-B49E-62C548C5323F}"/>
          </ac:spMkLst>
        </pc:spChg>
      </pc:sldChg>
      <pc:sldChg chg="modSp">
        <pc:chgData name="Catherine BERTRAND-FERRANDIS" userId="35f10b5a1ac5f9e6" providerId="Windows Live" clId="Web-{2DDAFF97-60AB-4303-BA69-12C33F6601ED}" dt="2022-06-29T10:53:16.827" v="86" actId="1076"/>
        <pc:sldMkLst>
          <pc:docMk/>
          <pc:sldMk cId="3278311088" sldId="2145706502"/>
        </pc:sldMkLst>
        <pc:spChg chg="mod">
          <ac:chgData name="Catherine BERTRAND-FERRANDIS" userId="35f10b5a1ac5f9e6" providerId="Windows Live" clId="Web-{2DDAFF97-60AB-4303-BA69-12C33F6601ED}" dt="2022-06-29T10:50:37.590" v="74" actId="14100"/>
          <ac:spMkLst>
            <pc:docMk/>
            <pc:sldMk cId="3278311088" sldId="2145706502"/>
            <ac:spMk id="4" creationId="{C65023BF-C0C5-4A7B-9BFF-A6D88646F461}"/>
          </ac:spMkLst>
        </pc:spChg>
        <pc:spChg chg="mod">
          <ac:chgData name="Catherine BERTRAND-FERRANDIS" userId="35f10b5a1ac5f9e6" providerId="Windows Live" clId="Web-{2DDAFF97-60AB-4303-BA69-12C33F6601ED}" dt="2022-06-29T10:53:16.827" v="86" actId="1076"/>
          <ac:spMkLst>
            <pc:docMk/>
            <pc:sldMk cId="3278311088" sldId="2145706502"/>
            <ac:spMk id="22" creationId="{AE8D1F69-73D1-45CB-B376-B21D9F8DBE67}"/>
          </ac:spMkLst>
        </pc:spChg>
        <pc:spChg chg="mod">
          <ac:chgData name="Catherine BERTRAND-FERRANDIS" userId="35f10b5a1ac5f9e6" providerId="Windows Live" clId="Web-{2DDAFF97-60AB-4303-BA69-12C33F6601ED}" dt="2022-06-29T10:52:43.030" v="85" actId="14100"/>
          <ac:spMkLst>
            <pc:docMk/>
            <pc:sldMk cId="3278311088" sldId="2145706502"/>
            <ac:spMk id="26" creationId="{ED157983-77C2-4853-889B-AE9B3E30C06A}"/>
          </ac:spMkLst>
        </pc:spChg>
      </pc:sldChg>
      <pc:sldChg chg="modSp">
        <pc:chgData name="Catherine BERTRAND-FERRANDIS" userId="35f10b5a1ac5f9e6" providerId="Windows Live" clId="Web-{2DDAFF97-60AB-4303-BA69-12C33F6601ED}" dt="2022-06-29T11:08:26.358" v="192" actId="1076"/>
        <pc:sldMkLst>
          <pc:docMk/>
          <pc:sldMk cId="554404419" sldId="2145706789"/>
        </pc:sldMkLst>
        <pc:spChg chg="mod">
          <ac:chgData name="Catherine BERTRAND-FERRANDIS" userId="35f10b5a1ac5f9e6" providerId="Windows Live" clId="Web-{2DDAFF97-60AB-4303-BA69-12C33F6601ED}" dt="2022-06-29T11:08:02.764" v="186" actId="20577"/>
          <ac:spMkLst>
            <pc:docMk/>
            <pc:sldMk cId="554404419" sldId="2145706789"/>
            <ac:spMk id="3" creationId="{7D2272BB-2F5F-40A5-9A2D-CB63EA6E60C3}"/>
          </ac:spMkLst>
        </pc:spChg>
        <pc:spChg chg="mod">
          <ac:chgData name="Catherine BERTRAND-FERRANDIS" userId="35f10b5a1ac5f9e6" providerId="Windows Live" clId="Web-{2DDAFF97-60AB-4303-BA69-12C33F6601ED}" dt="2022-06-29T11:08:21.952" v="191" actId="1076"/>
          <ac:spMkLst>
            <pc:docMk/>
            <pc:sldMk cId="554404419" sldId="2145706789"/>
            <ac:spMk id="10" creationId="{FF25D1A3-F5C0-4D20-ACBF-69B8BA112E02}"/>
          </ac:spMkLst>
        </pc:spChg>
        <pc:spChg chg="mod">
          <ac:chgData name="Catherine BERTRAND-FERRANDIS" userId="35f10b5a1ac5f9e6" providerId="Windows Live" clId="Web-{2DDAFF97-60AB-4303-BA69-12C33F6601ED}" dt="2022-06-29T11:08:26.358" v="192" actId="1076"/>
          <ac:spMkLst>
            <pc:docMk/>
            <pc:sldMk cId="554404419" sldId="2145706789"/>
            <ac:spMk id="15" creationId="{346F76EE-CCB0-4823-8B43-2EDC916DD506}"/>
          </ac:spMkLst>
        </pc:spChg>
        <pc:spChg chg="mod">
          <ac:chgData name="Catherine BERTRAND-FERRANDIS" userId="35f10b5a1ac5f9e6" providerId="Windows Live" clId="Web-{2DDAFF97-60AB-4303-BA69-12C33F6601ED}" dt="2022-06-29T11:08:18.186" v="190" actId="1076"/>
          <ac:spMkLst>
            <pc:docMk/>
            <pc:sldMk cId="554404419" sldId="2145706789"/>
            <ac:spMk id="17" creationId="{7F8E2191-3C45-426D-A043-9A4A23576277}"/>
          </ac:spMkLst>
        </pc:spChg>
        <pc:picChg chg="mod">
          <ac:chgData name="Catherine BERTRAND-FERRANDIS" userId="35f10b5a1ac5f9e6" providerId="Windows Live" clId="Web-{2DDAFF97-60AB-4303-BA69-12C33F6601ED}" dt="2022-06-29T11:08:14.123" v="189" actId="1076"/>
          <ac:picMkLst>
            <pc:docMk/>
            <pc:sldMk cId="554404419" sldId="2145706789"/>
            <ac:picMk id="12" creationId="{CF46C36A-B731-48E0-BBF9-25DA0AF8EDC6}"/>
          </ac:picMkLst>
        </pc:picChg>
      </pc:sldChg>
      <pc:sldChg chg="modSp">
        <pc:chgData name="Catherine BERTRAND-FERRANDIS" userId="35f10b5a1ac5f9e6" providerId="Windows Live" clId="Web-{2DDAFF97-60AB-4303-BA69-12C33F6601ED}" dt="2022-06-29T11:10:24.141" v="207" actId="20577"/>
        <pc:sldMkLst>
          <pc:docMk/>
          <pc:sldMk cId="2019117086" sldId="2145706792"/>
        </pc:sldMkLst>
        <pc:spChg chg="mod">
          <ac:chgData name="Catherine BERTRAND-FERRANDIS" userId="35f10b5a1ac5f9e6" providerId="Windows Live" clId="Web-{2DDAFF97-60AB-4303-BA69-12C33F6601ED}" dt="2022-06-29T11:10:24.141" v="207" actId="20577"/>
          <ac:spMkLst>
            <pc:docMk/>
            <pc:sldMk cId="2019117086" sldId="2145706792"/>
            <ac:spMk id="3" creationId="{7D2272BB-2F5F-40A5-9A2D-CB63EA6E60C3}"/>
          </ac:spMkLst>
        </pc:spChg>
      </pc:sldChg>
      <pc:sldChg chg="modSp delCm">
        <pc:chgData name="Catherine BERTRAND-FERRANDIS" userId="35f10b5a1ac5f9e6" providerId="Windows Live" clId="Web-{2DDAFF97-60AB-4303-BA69-12C33F6601ED}" dt="2022-06-29T10:57:57.535" v="109"/>
        <pc:sldMkLst>
          <pc:docMk/>
          <pc:sldMk cId="2943460027" sldId="2145706794"/>
        </pc:sldMkLst>
        <pc:spChg chg="mod">
          <ac:chgData name="Catherine BERTRAND-FERRANDIS" userId="35f10b5a1ac5f9e6" providerId="Windows Live" clId="Web-{2DDAFF97-60AB-4303-BA69-12C33F6601ED}" dt="2022-06-29T10:57:53.269" v="108" actId="20577"/>
          <ac:spMkLst>
            <pc:docMk/>
            <pc:sldMk cId="2943460027" sldId="2145706794"/>
            <ac:spMk id="3" creationId="{EE66A570-4AAB-492B-87AA-999843AF0A13}"/>
          </ac:spMkLst>
        </pc:spChg>
      </pc:sldChg>
      <pc:sldChg chg="modSp">
        <pc:chgData name="Catherine BERTRAND-FERRANDIS" userId="35f10b5a1ac5f9e6" providerId="Windows Live" clId="Web-{2DDAFF97-60AB-4303-BA69-12C33F6601ED}" dt="2022-06-29T11:10:18.360" v="201" actId="20577"/>
        <pc:sldMkLst>
          <pc:docMk/>
          <pc:sldMk cId="2703737329" sldId="2145706795"/>
        </pc:sldMkLst>
        <pc:spChg chg="mod">
          <ac:chgData name="Catherine BERTRAND-FERRANDIS" userId="35f10b5a1ac5f9e6" providerId="Windows Live" clId="Web-{2DDAFF97-60AB-4303-BA69-12C33F6601ED}" dt="2022-06-29T11:10:18.360" v="201" actId="20577"/>
          <ac:spMkLst>
            <pc:docMk/>
            <pc:sldMk cId="2703737329" sldId="2145706795"/>
            <ac:spMk id="2" creationId="{7E4163C3-3D49-14F0-103B-C4A6893E031E}"/>
          </ac:spMkLst>
        </pc:spChg>
      </pc:sldChg>
      <pc:sldChg chg="modSp">
        <pc:chgData name="Catherine BERTRAND-FERRANDIS" userId="35f10b5a1ac5f9e6" providerId="Windows Live" clId="Web-{2DDAFF97-60AB-4303-BA69-12C33F6601ED}" dt="2022-06-29T10:35:29.169" v="40" actId="20577"/>
        <pc:sldMkLst>
          <pc:docMk/>
          <pc:sldMk cId="3956647517" sldId="2145706800"/>
        </pc:sldMkLst>
        <pc:spChg chg="mod">
          <ac:chgData name="Catherine BERTRAND-FERRANDIS" userId="35f10b5a1ac5f9e6" providerId="Windows Live" clId="Web-{2DDAFF97-60AB-4303-BA69-12C33F6601ED}" dt="2022-06-29T10:35:29.169" v="40" actId="20577"/>
          <ac:spMkLst>
            <pc:docMk/>
            <pc:sldMk cId="3956647517" sldId="2145706800"/>
            <ac:spMk id="3" creationId="{867CAF88-4CE5-460E-B49E-62C548C5323F}"/>
          </ac:spMkLst>
        </pc:spChg>
      </pc:sldChg>
      <pc:sldChg chg="modSp">
        <pc:chgData name="Catherine BERTRAND-FERRANDIS" userId="35f10b5a1ac5f9e6" providerId="Windows Live" clId="Web-{2DDAFF97-60AB-4303-BA69-12C33F6601ED}" dt="2022-06-29T10:52:20.857" v="84" actId="20577"/>
        <pc:sldMkLst>
          <pc:docMk/>
          <pc:sldMk cId="357694764" sldId="2145706801"/>
        </pc:sldMkLst>
        <pc:spChg chg="mod">
          <ac:chgData name="Catherine BERTRAND-FERRANDIS" userId="35f10b5a1ac5f9e6" providerId="Windows Live" clId="Web-{2DDAFF97-60AB-4303-BA69-12C33F6601ED}" dt="2022-06-29T10:52:20.857" v="84" actId="20577"/>
          <ac:spMkLst>
            <pc:docMk/>
            <pc:sldMk cId="357694764" sldId="2145706801"/>
            <ac:spMk id="2" creationId="{57A11B9C-C5F9-4336-80D8-05E26021966C}"/>
          </ac:spMkLst>
        </pc:spChg>
      </pc:sldChg>
      <pc:sldChg chg="modSp">
        <pc:chgData name="Catherine BERTRAND-FERRANDIS" userId="35f10b5a1ac5f9e6" providerId="Windows Live" clId="Web-{2DDAFF97-60AB-4303-BA69-12C33F6601ED}" dt="2022-06-29T11:01:07.710" v="119"/>
        <pc:sldMkLst>
          <pc:docMk/>
          <pc:sldMk cId="274729691" sldId="2145706804"/>
        </pc:sldMkLst>
        <pc:spChg chg="mod">
          <ac:chgData name="Catherine BERTRAND-FERRANDIS" userId="35f10b5a1ac5f9e6" providerId="Windows Live" clId="Web-{2DDAFF97-60AB-4303-BA69-12C33F6601ED}" dt="2022-06-29T10:58:22.582" v="118" actId="20577"/>
          <ac:spMkLst>
            <pc:docMk/>
            <pc:sldMk cId="274729691" sldId="2145706804"/>
            <ac:spMk id="7" creationId="{62F3355B-FA81-4CB6-B4C8-1F9DE1C414E9}"/>
          </ac:spMkLst>
        </pc:spChg>
        <pc:picChg chg="mod">
          <ac:chgData name="Catherine BERTRAND-FERRANDIS" userId="35f10b5a1ac5f9e6" providerId="Windows Live" clId="Web-{2DDAFF97-60AB-4303-BA69-12C33F6601ED}" dt="2022-06-29T11:01:07.710" v="119"/>
          <ac:picMkLst>
            <pc:docMk/>
            <pc:sldMk cId="274729691" sldId="2145706804"/>
            <ac:picMk id="8" creationId="{F00F24AB-4864-46E3-8475-E6AB87BF1A8E}"/>
          </ac:picMkLst>
        </pc:picChg>
      </pc:sldChg>
    </pc:docChg>
  </pc:docChgLst>
  <pc:docChgLst>
    <pc:chgData name="Crystal Bruce" userId="14427a4ffe69d2bf" providerId="Windows Live" clId="Web-{314E05FE-0AAE-4B26-84F0-6AC2D2152334}"/>
    <pc:docChg chg="modSld">
      <pc:chgData name="Crystal Bruce" userId="14427a4ffe69d2bf" providerId="Windows Live" clId="Web-{314E05FE-0AAE-4B26-84F0-6AC2D2152334}" dt="2022-07-20T13:38:57.264" v="10" actId="1076"/>
      <pc:docMkLst>
        <pc:docMk/>
      </pc:docMkLst>
      <pc:sldChg chg="modSp">
        <pc:chgData name="Crystal Bruce" userId="14427a4ffe69d2bf" providerId="Windows Live" clId="Web-{314E05FE-0AAE-4B26-84F0-6AC2D2152334}" dt="2022-07-20T13:37:37.778" v="6" actId="1076"/>
        <pc:sldMkLst>
          <pc:docMk/>
          <pc:sldMk cId="3278311088" sldId="2145706502"/>
        </pc:sldMkLst>
        <pc:spChg chg="mod">
          <ac:chgData name="Crystal Bruce" userId="14427a4ffe69d2bf" providerId="Windows Live" clId="Web-{314E05FE-0AAE-4B26-84F0-6AC2D2152334}" dt="2022-07-20T13:37:37.778" v="6" actId="1076"/>
          <ac:spMkLst>
            <pc:docMk/>
            <pc:sldMk cId="3278311088" sldId="2145706502"/>
            <ac:spMk id="31" creationId="{DA2616A6-3F87-4BD0-A83E-9D2E25CFDE45}"/>
          </ac:spMkLst>
        </pc:spChg>
      </pc:sldChg>
      <pc:sldChg chg="modSp">
        <pc:chgData name="Crystal Bruce" userId="14427a4ffe69d2bf" providerId="Windows Live" clId="Web-{314E05FE-0AAE-4B26-84F0-6AC2D2152334}" dt="2022-07-20T13:38:17.263" v="8" actId="14100"/>
        <pc:sldMkLst>
          <pc:docMk/>
          <pc:sldMk cId="554404419" sldId="2145706789"/>
        </pc:sldMkLst>
        <pc:spChg chg="mod">
          <ac:chgData name="Crystal Bruce" userId="14427a4ffe69d2bf" providerId="Windows Live" clId="Web-{314E05FE-0AAE-4B26-84F0-6AC2D2152334}" dt="2022-07-20T13:38:17.263" v="8" actId="14100"/>
          <ac:spMkLst>
            <pc:docMk/>
            <pc:sldMk cId="554404419" sldId="2145706789"/>
            <ac:spMk id="3" creationId="{7D2272BB-2F5F-40A5-9A2D-CB63EA6E60C3}"/>
          </ac:spMkLst>
        </pc:spChg>
      </pc:sldChg>
      <pc:sldChg chg="modSp">
        <pc:chgData name="Crystal Bruce" userId="14427a4ffe69d2bf" providerId="Windows Live" clId="Web-{314E05FE-0AAE-4B26-84F0-6AC2D2152334}" dt="2022-07-20T13:38:57.264" v="10" actId="1076"/>
        <pc:sldMkLst>
          <pc:docMk/>
          <pc:sldMk cId="2019117086" sldId="2145706792"/>
        </pc:sldMkLst>
        <pc:spChg chg="mod">
          <ac:chgData name="Crystal Bruce" userId="14427a4ffe69d2bf" providerId="Windows Live" clId="Web-{314E05FE-0AAE-4B26-84F0-6AC2D2152334}" dt="2022-07-20T13:38:52.264" v="9" actId="14100"/>
          <ac:spMkLst>
            <pc:docMk/>
            <pc:sldMk cId="2019117086" sldId="2145706792"/>
            <ac:spMk id="3" creationId="{7D2272BB-2F5F-40A5-9A2D-CB63EA6E60C3}"/>
          </ac:spMkLst>
        </pc:spChg>
        <pc:spChg chg="mod">
          <ac:chgData name="Crystal Bruce" userId="14427a4ffe69d2bf" providerId="Windows Live" clId="Web-{314E05FE-0AAE-4B26-84F0-6AC2D2152334}" dt="2022-07-20T13:38:57.264" v="10" actId="1076"/>
          <ac:spMkLst>
            <pc:docMk/>
            <pc:sldMk cId="2019117086" sldId="2145706792"/>
            <ac:spMk id="10" creationId="{FF25D1A3-F5C0-4D20-ACBF-69B8BA112E02}"/>
          </ac:spMkLst>
        </pc:spChg>
      </pc:sldChg>
      <pc:sldChg chg="modSp">
        <pc:chgData name="Crystal Bruce" userId="14427a4ffe69d2bf" providerId="Windows Live" clId="Web-{314E05FE-0AAE-4B26-84F0-6AC2D2152334}" dt="2022-07-20T13:37:13.183" v="5" actId="14100"/>
        <pc:sldMkLst>
          <pc:docMk/>
          <pc:sldMk cId="3956647517" sldId="2145706800"/>
        </pc:sldMkLst>
        <pc:spChg chg="mod">
          <ac:chgData name="Crystal Bruce" userId="14427a4ffe69d2bf" providerId="Windows Live" clId="Web-{314E05FE-0AAE-4B26-84F0-6AC2D2152334}" dt="2022-07-20T13:37:13.183" v="5" actId="14100"/>
          <ac:spMkLst>
            <pc:docMk/>
            <pc:sldMk cId="3956647517" sldId="2145706800"/>
            <ac:spMk id="3" creationId="{867CAF88-4CE5-460E-B49E-62C548C5323F}"/>
          </ac:spMkLst>
        </pc:spChg>
      </pc:sldChg>
    </pc:docChg>
  </pc:docChgLst>
  <pc:docChgLst>
    <pc:chgData name="Roshni Devchand" userId="391f66c60875c68d" providerId="Windows Live" clId="Web-{0E02FF1E-CB2C-4717-980B-7CA59D060EAD}"/>
    <pc:docChg chg="modSld">
      <pc:chgData name="Roshni Devchand" userId="391f66c60875c68d" providerId="Windows Live" clId="Web-{0E02FF1E-CB2C-4717-980B-7CA59D060EAD}" dt="2022-06-27T16:52:26.319" v="9" actId="1076"/>
      <pc:docMkLst>
        <pc:docMk/>
      </pc:docMkLst>
      <pc:sldChg chg="addSp delSp modSp">
        <pc:chgData name="Roshni Devchand" userId="391f66c60875c68d" providerId="Windows Live" clId="Web-{0E02FF1E-CB2C-4717-980B-7CA59D060EAD}" dt="2022-06-27T16:52:26.319" v="9" actId="1076"/>
        <pc:sldMkLst>
          <pc:docMk/>
          <pc:sldMk cId="3278311088" sldId="2145706502"/>
        </pc:sldMkLst>
        <pc:picChg chg="add mod ord">
          <ac:chgData name="Roshni Devchand" userId="391f66c60875c68d" providerId="Windows Live" clId="Web-{0E02FF1E-CB2C-4717-980B-7CA59D060EAD}" dt="2022-06-27T16:52:26.319" v="9" actId="1076"/>
          <ac:picMkLst>
            <pc:docMk/>
            <pc:sldMk cId="3278311088" sldId="2145706502"/>
            <ac:picMk id="2" creationId="{3A28E148-B97F-F02C-ED6F-7A1B47E58664}"/>
          </ac:picMkLst>
        </pc:picChg>
        <pc:picChg chg="del">
          <ac:chgData name="Roshni Devchand" userId="391f66c60875c68d" providerId="Windows Live" clId="Web-{0E02FF1E-CB2C-4717-980B-7CA59D060EAD}" dt="2022-06-27T16:51:47.708" v="0"/>
          <ac:picMkLst>
            <pc:docMk/>
            <pc:sldMk cId="3278311088" sldId="2145706502"/>
            <ac:picMk id="6" creationId="{5914F9B9-4F9F-48CE-8FB3-F3A2C6C23316}"/>
          </ac:picMkLst>
        </pc:picChg>
      </pc:sldChg>
    </pc:docChg>
  </pc:docChgLst>
  <pc:docChgLst>
    <pc:chgData name="Roshni Devchand" userId="391f66c60875c68d" providerId="Windows Live" clId="Web-{DA95E3FD-5681-4623-BC61-0CE5E1382687}"/>
    <pc:docChg chg="modSld">
      <pc:chgData name="Roshni Devchand" userId="391f66c60875c68d" providerId="Windows Live" clId="Web-{DA95E3FD-5681-4623-BC61-0CE5E1382687}" dt="2022-06-29T19:06:45.788" v="7" actId="1076"/>
      <pc:docMkLst>
        <pc:docMk/>
      </pc:docMkLst>
      <pc:sldChg chg="addSp delSp modSp">
        <pc:chgData name="Roshni Devchand" userId="391f66c60875c68d" providerId="Windows Live" clId="Web-{DA95E3FD-5681-4623-BC61-0CE5E1382687}" dt="2022-06-29T19:06:45.788" v="7" actId="1076"/>
        <pc:sldMkLst>
          <pc:docMk/>
          <pc:sldMk cId="3278311088" sldId="2145706502"/>
        </pc:sldMkLst>
        <pc:spChg chg="mod">
          <ac:chgData name="Roshni Devchand" userId="391f66c60875c68d" providerId="Windows Live" clId="Web-{DA95E3FD-5681-4623-BC61-0CE5E1382687}" dt="2022-06-29T19:06:45.788" v="7" actId="1076"/>
          <ac:spMkLst>
            <pc:docMk/>
            <pc:sldMk cId="3278311088" sldId="2145706502"/>
            <ac:spMk id="29" creationId="{19164092-2188-4723-87C5-84A7EF7C4EC8}"/>
          </ac:spMkLst>
        </pc:spChg>
        <pc:picChg chg="del">
          <ac:chgData name="Roshni Devchand" userId="391f66c60875c68d" providerId="Windows Live" clId="Web-{DA95E3FD-5681-4623-BC61-0CE5E1382687}" dt="2022-06-29T19:05:59.427" v="0"/>
          <ac:picMkLst>
            <pc:docMk/>
            <pc:sldMk cId="3278311088" sldId="2145706502"/>
            <ac:picMk id="2" creationId="{3A28E148-B97F-F02C-ED6F-7A1B47E58664}"/>
          </ac:picMkLst>
        </pc:picChg>
        <pc:picChg chg="add mod ord">
          <ac:chgData name="Roshni Devchand" userId="391f66c60875c68d" providerId="Windows Live" clId="Web-{DA95E3FD-5681-4623-BC61-0CE5E1382687}" dt="2022-06-29T19:06:38.475" v="6" actId="14100"/>
          <ac:picMkLst>
            <pc:docMk/>
            <pc:sldMk cId="3278311088" sldId="2145706502"/>
            <ac:picMk id="3" creationId="{7FBBEA38-ED6A-9072-7891-2C2A5BE2E555}"/>
          </ac:picMkLst>
        </pc:picChg>
      </pc:sldChg>
    </pc:docChg>
  </pc:docChgLst>
  <pc:docChgLst>
    <pc:chgData name="Roshni Devchand" userId="391f66c60875c68d" providerId="Windows Live" clId="Web-{72EE59B7-C92D-4667-8E1C-1B115DDA5C06}"/>
    <pc:docChg chg="modSld">
      <pc:chgData name="Roshni Devchand" userId="391f66c60875c68d" providerId="Windows Live" clId="Web-{72EE59B7-C92D-4667-8E1C-1B115DDA5C06}" dt="2022-06-27T16:55:26.210" v="0"/>
      <pc:docMkLst>
        <pc:docMk/>
      </pc:docMkLst>
      <pc:sldChg chg="delSp">
        <pc:chgData name="Roshni Devchand" userId="391f66c60875c68d" providerId="Windows Live" clId="Web-{72EE59B7-C92D-4667-8E1C-1B115DDA5C06}" dt="2022-06-27T16:55:26.210" v="0"/>
        <pc:sldMkLst>
          <pc:docMk/>
          <pc:sldMk cId="3278311088" sldId="2145706502"/>
        </pc:sldMkLst>
        <pc:spChg chg="del">
          <ac:chgData name="Roshni Devchand" userId="391f66c60875c68d" providerId="Windows Live" clId="Web-{72EE59B7-C92D-4667-8E1C-1B115DDA5C06}" dt="2022-06-27T16:55:26.210" v="0"/>
          <ac:spMkLst>
            <pc:docMk/>
            <pc:sldMk cId="3278311088" sldId="2145706502"/>
            <ac:spMk id="28" creationId="{7C55D68D-80DD-46D5-9079-4E7941AC0A61}"/>
          </ac:spMkLst>
        </pc:spChg>
      </pc:sldChg>
    </pc:docChg>
  </pc:docChgLst>
  <pc:docChgLst>
    <pc:chgData name="Roshni Devchand" userId="391f66c60875c68d" providerId="Windows Live" clId="Web-{D6B408C3-4134-40B4-93B4-C66FB6EA5F65}"/>
    <pc:docChg chg="modSld">
      <pc:chgData name="Roshni Devchand" userId="391f66c60875c68d" providerId="Windows Live" clId="Web-{D6B408C3-4134-40B4-93B4-C66FB6EA5F65}" dt="2022-07-05T14:23:40.646" v="43"/>
      <pc:docMkLst>
        <pc:docMk/>
      </pc:docMkLst>
      <pc:sldChg chg="addSp">
        <pc:chgData name="Roshni Devchand" userId="391f66c60875c68d" providerId="Windows Live" clId="Web-{D6B408C3-4134-40B4-93B4-C66FB6EA5F65}" dt="2022-07-05T14:22:52.176" v="32"/>
        <pc:sldMkLst>
          <pc:docMk/>
          <pc:sldMk cId="2529256594" sldId="293"/>
        </pc:sldMkLst>
        <pc:spChg chg="add">
          <ac:chgData name="Roshni Devchand" userId="391f66c60875c68d" providerId="Windows Live" clId="Web-{D6B408C3-4134-40B4-93B4-C66FB6EA5F65}" dt="2022-07-05T14:22:52.176" v="32"/>
          <ac:spMkLst>
            <pc:docMk/>
            <pc:sldMk cId="2529256594" sldId="293"/>
            <ac:spMk id="5" creationId="{2CF8EA28-D411-C736-8A6C-22F84D730D8E}"/>
          </ac:spMkLst>
        </pc:spChg>
      </pc:sldChg>
      <pc:sldChg chg="addSp">
        <pc:chgData name="Roshni Devchand" userId="391f66c60875c68d" providerId="Windows Live" clId="Web-{D6B408C3-4134-40B4-93B4-C66FB6EA5F65}" dt="2022-07-05T14:21:53.065" v="20"/>
        <pc:sldMkLst>
          <pc:docMk/>
          <pc:sldMk cId="3150691971" sldId="301"/>
        </pc:sldMkLst>
        <pc:spChg chg="add">
          <ac:chgData name="Roshni Devchand" userId="391f66c60875c68d" providerId="Windows Live" clId="Web-{D6B408C3-4134-40B4-93B4-C66FB6EA5F65}" dt="2022-07-05T14:21:53.065" v="20"/>
          <ac:spMkLst>
            <pc:docMk/>
            <pc:sldMk cId="3150691971" sldId="301"/>
            <ac:spMk id="4" creationId="{D4B825D1-20BE-9A95-6EBA-E4363A5BBA62}"/>
          </ac:spMkLst>
        </pc:spChg>
      </pc:sldChg>
      <pc:sldChg chg="addSp">
        <pc:chgData name="Roshni Devchand" userId="391f66c60875c68d" providerId="Windows Live" clId="Web-{D6B408C3-4134-40B4-93B4-C66FB6EA5F65}" dt="2022-07-05T14:21:55.612" v="21"/>
        <pc:sldMkLst>
          <pc:docMk/>
          <pc:sldMk cId="490105619" sldId="2145706451"/>
        </pc:sldMkLst>
        <pc:spChg chg="add">
          <ac:chgData name="Roshni Devchand" userId="391f66c60875c68d" providerId="Windows Live" clId="Web-{D6B408C3-4134-40B4-93B4-C66FB6EA5F65}" dt="2022-07-05T14:21:55.612" v="21"/>
          <ac:spMkLst>
            <pc:docMk/>
            <pc:sldMk cId="490105619" sldId="2145706451"/>
            <ac:spMk id="5" creationId="{6CC04D5C-573B-EA88-D58F-6341F86D04BE}"/>
          </ac:spMkLst>
        </pc:spChg>
      </pc:sldChg>
      <pc:sldChg chg="addSp">
        <pc:chgData name="Roshni Devchand" userId="391f66c60875c68d" providerId="Windows Live" clId="Web-{D6B408C3-4134-40B4-93B4-C66FB6EA5F65}" dt="2022-07-05T14:21:57.721" v="22"/>
        <pc:sldMkLst>
          <pc:docMk/>
          <pc:sldMk cId="3217575340" sldId="2145706471"/>
        </pc:sldMkLst>
        <pc:spChg chg="add">
          <ac:chgData name="Roshni Devchand" userId="391f66c60875c68d" providerId="Windows Live" clId="Web-{D6B408C3-4134-40B4-93B4-C66FB6EA5F65}" dt="2022-07-05T14:21:57.721" v="22"/>
          <ac:spMkLst>
            <pc:docMk/>
            <pc:sldMk cId="3217575340" sldId="2145706471"/>
            <ac:spMk id="5" creationId="{D2CF8C3D-9DD0-749C-95D4-0EED217C2929}"/>
          </ac:spMkLst>
        </pc:spChg>
      </pc:sldChg>
      <pc:sldChg chg="addSp">
        <pc:chgData name="Roshni Devchand" userId="391f66c60875c68d" providerId="Windows Live" clId="Web-{D6B408C3-4134-40B4-93B4-C66FB6EA5F65}" dt="2022-07-05T14:22:02.424" v="24"/>
        <pc:sldMkLst>
          <pc:docMk/>
          <pc:sldMk cId="3831573092" sldId="2145706474"/>
        </pc:sldMkLst>
        <pc:spChg chg="add">
          <ac:chgData name="Roshni Devchand" userId="391f66c60875c68d" providerId="Windows Live" clId="Web-{D6B408C3-4134-40B4-93B4-C66FB6EA5F65}" dt="2022-07-05T14:22:02.424" v="24"/>
          <ac:spMkLst>
            <pc:docMk/>
            <pc:sldMk cId="3831573092" sldId="2145706474"/>
            <ac:spMk id="6" creationId="{C068F9A0-4857-02D9-5ED8-69553EC90739}"/>
          </ac:spMkLst>
        </pc:spChg>
      </pc:sldChg>
      <pc:sldChg chg="addSp">
        <pc:chgData name="Roshni Devchand" userId="391f66c60875c68d" providerId="Windows Live" clId="Web-{D6B408C3-4134-40B4-93B4-C66FB6EA5F65}" dt="2022-07-05T14:22:04.628" v="25"/>
        <pc:sldMkLst>
          <pc:docMk/>
          <pc:sldMk cId="3278311088" sldId="2145706502"/>
        </pc:sldMkLst>
        <pc:spChg chg="add">
          <ac:chgData name="Roshni Devchand" userId="391f66c60875c68d" providerId="Windows Live" clId="Web-{D6B408C3-4134-40B4-93B4-C66FB6EA5F65}" dt="2022-07-05T14:22:04.628" v="25"/>
          <ac:spMkLst>
            <pc:docMk/>
            <pc:sldMk cId="3278311088" sldId="2145706502"/>
            <ac:spMk id="5" creationId="{A108BFB8-84E9-CBD6-DB72-49F897ECCD5A}"/>
          </ac:spMkLst>
        </pc:spChg>
      </pc:sldChg>
      <pc:sldChg chg="addSp">
        <pc:chgData name="Roshni Devchand" userId="391f66c60875c68d" providerId="Windows Live" clId="Web-{D6B408C3-4134-40B4-93B4-C66FB6EA5F65}" dt="2022-07-05T14:23:38.568" v="42"/>
        <pc:sldMkLst>
          <pc:docMk/>
          <pc:sldMk cId="554404419" sldId="2145706789"/>
        </pc:sldMkLst>
        <pc:spChg chg="add">
          <ac:chgData name="Roshni Devchand" userId="391f66c60875c68d" providerId="Windows Live" clId="Web-{D6B408C3-4134-40B4-93B4-C66FB6EA5F65}" dt="2022-07-05T14:23:38.568" v="42"/>
          <ac:spMkLst>
            <pc:docMk/>
            <pc:sldMk cId="554404419" sldId="2145706789"/>
            <ac:spMk id="5" creationId="{1E036746-94BE-B5A1-57E0-64BEDF07A5BB}"/>
          </ac:spMkLst>
        </pc:spChg>
      </pc:sldChg>
      <pc:sldChg chg="addSp">
        <pc:chgData name="Roshni Devchand" userId="391f66c60875c68d" providerId="Windows Live" clId="Web-{D6B408C3-4134-40B4-93B4-C66FB6EA5F65}" dt="2022-07-05T14:23:40.646" v="43"/>
        <pc:sldMkLst>
          <pc:docMk/>
          <pc:sldMk cId="2019117086" sldId="2145706792"/>
        </pc:sldMkLst>
        <pc:spChg chg="add">
          <ac:chgData name="Roshni Devchand" userId="391f66c60875c68d" providerId="Windows Live" clId="Web-{D6B408C3-4134-40B4-93B4-C66FB6EA5F65}" dt="2022-07-05T14:23:40.646" v="43"/>
          <ac:spMkLst>
            <pc:docMk/>
            <pc:sldMk cId="2019117086" sldId="2145706792"/>
            <ac:spMk id="5" creationId="{269EB77E-CE22-01DE-D935-10F478019FB3}"/>
          </ac:spMkLst>
        </pc:spChg>
      </pc:sldChg>
      <pc:sldChg chg="addSp delSp">
        <pc:chgData name="Roshni Devchand" userId="391f66c60875c68d" providerId="Windows Live" clId="Web-{D6B408C3-4134-40B4-93B4-C66FB6EA5F65}" dt="2022-07-05T14:22:58.145" v="34"/>
        <pc:sldMkLst>
          <pc:docMk/>
          <pc:sldMk cId="2943460027" sldId="2145706794"/>
        </pc:sldMkLst>
        <pc:spChg chg="add del">
          <ac:chgData name="Roshni Devchand" userId="391f66c60875c68d" providerId="Windows Live" clId="Web-{D6B408C3-4134-40B4-93B4-C66FB6EA5F65}" dt="2022-07-05T14:22:58.145" v="34"/>
          <ac:spMkLst>
            <pc:docMk/>
            <pc:sldMk cId="2943460027" sldId="2145706794"/>
            <ac:spMk id="6" creationId="{88761D37-4F90-56CF-FACE-A4F28D838461}"/>
          </ac:spMkLst>
        </pc:spChg>
      </pc:sldChg>
      <pc:sldChg chg="addSp modSp">
        <pc:chgData name="Roshni Devchand" userId="391f66c60875c68d" providerId="Windows Live" clId="Web-{D6B408C3-4134-40B4-93B4-C66FB6EA5F65}" dt="2022-07-05T14:21:34.002" v="15"/>
        <pc:sldMkLst>
          <pc:docMk/>
          <pc:sldMk cId="2703737329" sldId="2145706795"/>
        </pc:sldMkLst>
        <pc:spChg chg="add mod">
          <ac:chgData name="Roshni Devchand" userId="391f66c60875c68d" providerId="Windows Live" clId="Web-{D6B408C3-4134-40B4-93B4-C66FB6EA5F65}" dt="2022-07-05T14:21:34.002" v="15"/>
          <ac:spMkLst>
            <pc:docMk/>
            <pc:sldMk cId="2703737329" sldId="2145706795"/>
            <ac:spMk id="4" creationId="{06A77FC9-DC0B-F961-090F-6CDF40CF0F4D}"/>
          </ac:spMkLst>
        </pc:spChg>
      </pc:sldChg>
      <pc:sldChg chg="addSp">
        <pc:chgData name="Roshni Devchand" userId="391f66c60875c68d" providerId="Windows Live" clId="Web-{D6B408C3-4134-40B4-93B4-C66FB6EA5F65}" dt="2022-07-05T14:21:38.973" v="16"/>
        <pc:sldMkLst>
          <pc:docMk/>
          <pc:sldMk cId="1481554836" sldId="2145706798"/>
        </pc:sldMkLst>
        <pc:spChg chg="add">
          <ac:chgData name="Roshni Devchand" userId="391f66c60875c68d" providerId="Windows Live" clId="Web-{D6B408C3-4134-40B4-93B4-C66FB6EA5F65}" dt="2022-07-05T14:21:38.973" v="16"/>
          <ac:spMkLst>
            <pc:docMk/>
            <pc:sldMk cId="1481554836" sldId="2145706798"/>
            <ac:spMk id="5" creationId="{BD6A01C8-A459-FA5D-706A-0489E83F8CE7}"/>
          </ac:spMkLst>
        </pc:spChg>
      </pc:sldChg>
      <pc:sldChg chg="addSp modSp">
        <pc:chgData name="Roshni Devchand" userId="391f66c60875c68d" providerId="Windows Live" clId="Web-{D6B408C3-4134-40B4-93B4-C66FB6EA5F65}" dt="2022-07-05T14:21:51.049" v="19"/>
        <pc:sldMkLst>
          <pc:docMk/>
          <pc:sldMk cId="283277970" sldId="2145706799"/>
        </pc:sldMkLst>
        <pc:spChg chg="add mod">
          <ac:chgData name="Roshni Devchand" userId="391f66c60875c68d" providerId="Windows Live" clId="Web-{D6B408C3-4134-40B4-93B4-C66FB6EA5F65}" dt="2022-07-05T14:21:51.049" v="19"/>
          <ac:spMkLst>
            <pc:docMk/>
            <pc:sldMk cId="283277970" sldId="2145706799"/>
            <ac:spMk id="4" creationId="{6A003421-98F7-3757-41BA-7059F083E97D}"/>
          </ac:spMkLst>
        </pc:spChg>
      </pc:sldChg>
      <pc:sldChg chg="addSp">
        <pc:chgData name="Roshni Devchand" userId="391f66c60875c68d" providerId="Windows Live" clId="Web-{D6B408C3-4134-40B4-93B4-C66FB6EA5F65}" dt="2022-07-05T14:22:00.456" v="23"/>
        <pc:sldMkLst>
          <pc:docMk/>
          <pc:sldMk cId="3956647517" sldId="2145706800"/>
        </pc:sldMkLst>
        <pc:spChg chg="add">
          <ac:chgData name="Roshni Devchand" userId="391f66c60875c68d" providerId="Windows Live" clId="Web-{D6B408C3-4134-40B4-93B4-C66FB6EA5F65}" dt="2022-07-05T14:22:00.456" v="23"/>
          <ac:spMkLst>
            <pc:docMk/>
            <pc:sldMk cId="3956647517" sldId="2145706800"/>
            <ac:spMk id="5" creationId="{C4BEBCC7-3D46-1CD9-8491-DF1F102BA333}"/>
          </ac:spMkLst>
        </pc:spChg>
      </pc:sldChg>
      <pc:sldChg chg="addSp modSp">
        <pc:chgData name="Roshni Devchand" userId="391f66c60875c68d" providerId="Windows Live" clId="Web-{D6B408C3-4134-40B4-93B4-C66FB6EA5F65}" dt="2022-07-05T14:22:10.706" v="28"/>
        <pc:sldMkLst>
          <pc:docMk/>
          <pc:sldMk cId="357694764" sldId="2145706801"/>
        </pc:sldMkLst>
        <pc:spChg chg="add mod">
          <ac:chgData name="Roshni Devchand" userId="391f66c60875c68d" providerId="Windows Live" clId="Web-{D6B408C3-4134-40B4-93B4-C66FB6EA5F65}" dt="2022-07-05T14:22:10.706" v="28"/>
          <ac:spMkLst>
            <pc:docMk/>
            <pc:sldMk cId="357694764" sldId="2145706801"/>
            <ac:spMk id="5" creationId="{66712EE9-0528-7BAF-148E-6EAA0614D924}"/>
          </ac:spMkLst>
        </pc:spChg>
      </pc:sldChg>
      <pc:sldChg chg="addSp modSp">
        <pc:chgData name="Roshni Devchand" userId="391f66c60875c68d" providerId="Windows Live" clId="Web-{D6B408C3-4134-40B4-93B4-C66FB6EA5F65}" dt="2022-07-05T14:22:45.394" v="31"/>
        <pc:sldMkLst>
          <pc:docMk/>
          <pc:sldMk cId="2240933248" sldId="2145706802"/>
        </pc:sldMkLst>
        <pc:spChg chg="add mod">
          <ac:chgData name="Roshni Devchand" userId="391f66c60875c68d" providerId="Windows Live" clId="Web-{D6B408C3-4134-40B4-93B4-C66FB6EA5F65}" dt="2022-07-05T14:22:45.394" v="31"/>
          <ac:spMkLst>
            <pc:docMk/>
            <pc:sldMk cId="2240933248" sldId="2145706802"/>
            <ac:spMk id="4" creationId="{109A3997-57C1-3366-A755-488CDC18A1D7}"/>
          </ac:spMkLst>
        </pc:spChg>
      </pc:sldChg>
      <pc:sldChg chg="addSp modSp">
        <pc:chgData name="Roshni Devchand" userId="391f66c60875c68d" providerId="Windows Live" clId="Web-{D6B408C3-4134-40B4-93B4-C66FB6EA5F65}" dt="2022-07-05T14:23:34.052" v="41"/>
        <pc:sldMkLst>
          <pc:docMk/>
          <pc:sldMk cId="1322754494" sldId="2145706803"/>
        </pc:sldMkLst>
        <pc:spChg chg="add mod">
          <ac:chgData name="Roshni Devchand" userId="391f66c60875c68d" providerId="Windows Live" clId="Web-{D6B408C3-4134-40B4-93B4-C66FB6EA5F65}" dt="2022-07-05T14:23:34.052" v="41"/>
          <ac:spMkLst>
            <pc:docMk/>
            <pc:sldMk cId="1322754494" sldId="2145706803"/>
            <ac:spMk id="4" creationId="{81588228-3B2F-06A3-E8F4-F8572157CBDE}"/>
          </ac:spMkLst>
        </pc:spChg>
      </pc:sldChg>
      <pc:sldChg chg="addSp">
        <pc:chgData name="Roshni Devchand" userId="391f66c60875c68d" providerId="Windows Live" clId="Web-{D6B408C3-4134-40B4-93B4-C66FB6EA5F65}" dt="2022-07-05T14:23:00.973" v="35"/>
        <pc:sldMkLst>
          <pc:docMk/>
          <pc:sldMk cId="274729691" sldId="2145706804"/>
        </pc:sldMkLst>
        <pc:spChg chg="add">
          <ac:chgData name="Roshni Devchand" userId="391f66c60875c68d" providerId="Windows Live" clId="Web-{D6B408C3-4134-40B4-93B4-C66FB6EA5F65}" dt="2022-07-05T14:23:00.973" v="35"/>
          <ac:spMkLst>
            <pc:docMk/>
            <pc:sldMk cId="274729691" sldId="2145706804"/>
            <ac:spMk id="5" creationId="{FB267CD4-B993-5B2F-2929-A9169C09CC92}"/>
          </ac:spMkLst>
        </pc:spChg>
      </pc:sldChg>
      <pc:sldChg chg="addSp modSp">
        <pc:chgData name="Roshni Devchand" userId="391f66c60875c68d" providerId="Windows Live" clId="Web-{D6B408C3-4134-40B4-93B4-C66FB6EA5F65}" dt="2022-07-05T14:23:17.755" v="38"/>
        <pc:sldMkLst>
          <pc:docMk/>
          <pc:sldMk cId="2045083955" sldId="2145706805"/>
        </pc:sldMkLst>
        <pc:spChg chg="add mod">
          <ac:chgData name="Roshni Devchand" userId="391f66c60875c68d" providerId="Windows Live" clId="Web-{D6B408C3-4134-40B4-93B4-C66FB6EA5F65}" dt="2022-07-05T14:23:17.755" v="38"/>
          <ac:spMkLst>
            <pc:docMk/>
            <pc:sldMk cId="2045083955" sldId="2145706805"/>
            <ac:spMk id="5" creationId="{641D3A49-B31A-19D4-EC8E-3DA440F6380A}"/>
          </ac:spMkLst>
        </pc:spChg>
      </pc:sldChg>
    </pc:docChg>
  </pc:docChgLst>
  <pc:docChgLst>
    <pc:chgData name="Roshni Devchand" userId="391f66c60875c68d" providerId="Windows Live" clId="Web-{E71B5853-201F-4FF3-BE68-6BDB37F15318}"/>
    <pc:docChg chg="addSld delSld modSld">
      <pc:chgData name="Roshni Devchand" userId="391f66c60875c68d" providerId="Windows Live" clId="Web-{E71B5853-201F-4FF3-BE68-6BDB37F15318}" dt="2022-06-23T22:21:45.532" v="8"/>
      <pc:docMkLst>
        <pc:docMk/>
      </pc:docMkLst>
      <pc:sldChg chg="addSp delSp add del replId">
        <pc:chgData name="Roshni Devchand" userId="391f66c60875c68d" providerId="Windows Live" clId="Web-{E71B5853-201F-4FF3-BE68-6BDB37F15318}" dt="2022-06-23T22:21:45.532" v="8"/>
        <pc:sldMkLst>
          <pc:docMk/>
          <pc:sldMk cId="1419713750" sldId="2145706806"/>
        </pc:sldMkLst>
        <pc:spChg chg="del">
          <ac:chgData name="Roshni Devchand" userId="391f66c60875c68d" providerId="Windows Live" clId="Web-{E71B5853-201F-4FF3-BE68-6BDB37F15318}" dt="2022-06-23T22:19:29.014" v="7"/>
          <ac:spMkLst>
            <pc:docMk/>
            <pc:sldMk cId="1419713750" sldId="2145706806"/>
            <ac:spMk id="22" creationId="{AE8D1F69-73D1-45CB-B376-B21D9F8DBE67}"/>
          </ac:spMkLst>
        </pc:spChg>
        <pc:spChg chg="del">
          <ac:chgData name="Roshni Devchand" userId="391f66c60875c68d" providerId="Windows Live" clId="Web-{E71B5853-201F-4FF3-BE68-6BDB37F15318}" dt="2022-06-23T22:19:08.920" v="2"/>
          <ac:spMkLst>
            <pc:docMk/>
            <pc:sldMk cId="1419713750" sldId="2145706806"/>
            <ac:spMk id="26" creationId="{ED157983-77C2-4853-889B-AE9B3E30C06A}"/>
          </ac:spMkLst>
        </pc:spChg>
        <pc:spChg chg="del">
          <ac:chgData name="Roshni Devchand" userId="391f66c60875c68d" providerId="Windows Live" clId="Web-{E71B5853-201F-4FF3-BE68-6BDB37F15318}" dt="2022-06-23T22:19:11.654" v="3"/>
          <ac:spMkLst>
            <pc:docMk/>
            <pc:sldMk cId="1419713750" sldId="2145706806"/>
            <ac:spMk id="27" creationId="{EB9E67C9-2A98-41A0-A55C-4A72ACD8F6AA}"/>
          </ac:spMkLst>
        </pc:spChg>
        <pc:spChg chg="del">
          <ac:chgData name="Roshni Devchand" userId="391f66c60875c68d" providerId="Windows Live" clId="Web-{E71B5853-201F-4FF3-BE68-6BDB37F15318}" dt="2022-06-23T22:19:26.295" v="6"/>
          <ac:spMkLst>
            <pc:docMk/>
            <pc:sldMk cId="1419713750" sldId="2145706806"/>
            <ac:spMk id="30" creationId="{084B1A2E-E2B6-44FC-B892-8621299BABB6}"/>
          </ac:spMkLst>
        </pc:spChg>
        <pc:spChg chg="del">
          <ac:chgData name="Roshni Devchand" userId="391f66c60875c68d" providerId="Windows Live" clId="Web-{E71B5853-201F-4FF3-BE68-6BDB37F15318}" dt="2022-06-23T22:19:05.857" v="1"/>
          <ac:spMkLst>
            <pc:docMk/>
            <pc:sldMk cId="1419713750" sldId="2145706806"/>
            <ac:spMk id="32" creationId="{8446E1EF-0C83-4CFD-AF30-BD361B778A6E}"/>
          </ac:spMkLst>
        </pc:spChg>
        <pc:picChg chg="add del">
          <ac:chgData name="Roshni Devchand" userId="391f66c60875c68d" providerId="Windows Live" clId="Web-{E71B5853-201F-4FF3-BE68-6BDB37F15318}" dt="2022-06-23T22:19:16.061" v="5"/>
          <ac:picMkLst>
            <pc:docMk/>
            <pc:sldMk cId="1419713750" sldId="2145706806"/>
            <ac:picMk id="6" creationId="{5914F9B9-4F9F-48CE-8FB3-F3A2C6C23316}"/>
          </ac:picMkLst>
        </pc:picChg>
      </pc:sldChg>
    </pc:docChg>
  </pc:docChgLst>
  <pc:docChgLst>
    <pc:chgData name="Abigail Aldridge" userId="d0a76afd6a6e8b30" providerId="Windows Live" clId="Web-{302F2FFD-BA36-4C0F-8F36-55E248E25741}"/>
    <pc:docChg chg="modSld">
      <pc:chgData name="Abigail Aldridge" userId="d0a76afd6a6e8b30" providerId="Windows Live" clId="Web-{302F2FFD-BA36-4C0F-8F36-55E248E25741}" dt="2022-07-02T17:31:14.748" v="0" actId="1076"/>
      <pc:docMkLst>
        <pc:docMk/>
      </pc:docMkLst>
      <pc:sldChg chg="modSp">
        <pc:chgData name="Abigail Aldridge" userId="d0a76afd6a6e8b30" providerId="Windows Live" clId="Web-{302F2FFD-BA36-4C0F-8F36-55E248E25741}" dt="2022-07-02T17:31:14.748" v="0" actId="1076"/>
        <pc:sldMkLst>
          <pc:docMk/>
          <pc:sldMk cId="3278311088" sldId="2145706502"/>
        </pc:sldMkLst>
        <pc:spChg chg="mod">
          <ac:chgData name="Abigail Aldridge" userId="d0a76afd6a6e8b30" providerId="Windows Live" clId="Web-{302F2FFD-BA36-4C0F-8F36-55E248E25741}" dt="2022-07-02T17:31:14.748" v="0" actId="1076"/>
          <ac:spMkLst>
            <pc:docMk/>
            <pc:sldMk cId="3278311088" sldId="2145706502"/>
            <ac:spMk id="27" creationId="{EB9E67C9-2A98-41A0-A55C-4A72ACD8F6AA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0E6118-E029-4346-8222-460F25350FB4}" type="datetimeFigureOut">
              <a:rPr lang="en-US" smtClean="0"/>
              <a:t>7/2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322300-C538-437D-B0C3-2CC1E930FE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853513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D5ACDB8-8718-47E3-B876-B52192F7797C}" type="datetimeFigureOut">
              <a:rPr lang="en-US" smtClean="0"/>
              <a:t>7/2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D2DAF9-DC38-461F-9C7D-F9A7EE5C153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102448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endParaRPr lang="fr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algn="l" rtl="0"/>
            <a:r>
              <a:rPr lang="fr" b="0" i="0" u="none" baseline="0"/>
              <a:t>Organisation mondiale de la Santé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idx="11"/>
          </p:nvPr>
        </p:nvSpPr>
        <p:spPr/>
        <p:txBody>
          <a:bodyPr/>
          <a:lstStyle/>
          <a:p>
            <a:pPr algn="l" rtl="0"/>
            <a:fld id="{1CBE09EC-A4F6-4835-A055-C2A4BB5A552F}" type="datetime3">
              <a:rPr lang="en-US"/>
              <a:pPr algn="l" rtl="0"/>
              <a:t>22 July 2022</a:t>
            </a:fld>
            <a:endParaRPr lang="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l" rtl="0"/>
            <a:fld id="{9DC7146C-01FB-4AA2-887D-58E6F92B8E24}" type="slidenum">
              <a:rPr/>
              <a:pPr algn="l" rtl="0"/>
              <a:t>4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21111355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10DCB3-73E6-4E5F-9593-CD254CAE9670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794182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/>
            <a:r>
              <a:rPr lang="fr" b="0" i="0" u="none" baseline="0"/>
              <a:t>Des facilitateurs s'inviteront de temps en temps dans les salles pour observer vos discussion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410DCB3-73E6-4E5F-9593-CD254CAE9670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64530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175251-989C-4485-9A4B-F6EA6FEC0C50}" type="slidenum">
              <a:rPr kumimoji="0" sz="1200" b="0" i="0" u="none" strike="noStrike" kern="120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497341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l" rtl="0"/>
            <a:fld id="{40DD33B6-F520-4043-A42B-0AE136F61F0C}" type="slidenum">
              <a:rPr/>
              <a:t>12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29355075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24AD028-913E-4FA1-8689-5FFE5DC1FC84}" type="slidenum">
              <a:rPr/>
              <a:t>17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12963332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55575" y="574675"/>
            <a:ext cx="6621463" cy="37242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D24AD028-913E-4FA1-8689-5FFE5DC1FC84}" type="slidenum">
              <a:rPr/>
              <a:t>18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1101739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.jpeg"/><Relationship Id="rId4" Type="http://schemas.openxmlformats.org/officeDocument/2006/relationships/image" Target="../media/image3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w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9.jpeg"/><Relationship Id="rId4" Type="http://schemas.openxmlformats.org/officeDocument/2006/relationships/image" Target="../media/image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2.png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2.png"/><Relationship Id="rId11" Type="http://schemas.openxmlformats.org/officeDocument/2006/relationships/image" Target="../media/image27.png"/><Relationship Id="rId5" Type="http://schemas.openxmlformats.org/officeDocument/2006/relationships/image" Target="../media/image21.png"/><Relationship Id="rId10" Type="http://schemas.openxmlformats.org/officeDocument/2006/relationships/image" Target="../media/image26.png"/><Relationship Id="rId4" Type="http://schemas.openxmlformats.org/officeDocument/2006/relationships/image" Target="../media/image20.png"/><Relationship Id="rId9" Type="http://schemas.openxmlformats.org/officeDocument/2006/relationships/image" Target="../media/image25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4.png"/><Relationship Id="rId5" Type="http://schemas.openxmlformats.org/officeDocument/2006/relationships/image" Target="../media/image33.emf"/><Relationship Id="rId4" Type="http://schemas.openxmlformats.org/officeDocument/2006/relationships/oleObject" Target="../embeddings/oleObject1.bin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3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tags" Target="../tags/tag5.xml"/><Relationship Id="rId7" Type="http://schemas.openxmlformats.org/officeDocument/2006/relationships/image" Target="../media/image3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5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60A92-A2F8-4B6C-8D2E-4EA49054A055}" type="datetime1">
              <a:rPr lang="en-US" smtClean="0"/>
              <a:t>7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84A28-5CFC-4064-84AD-8427685188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396575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ADFD3B-5293-4DAA-AC48-987288CAAF00}" type="datetime1">
              <a:rPr lang="en-US" smtClean="0"/>
              <a:t>7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84A28-5CFC-4064-84AD-8427685188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8543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2BB58-BF35-4305-8382-D9292C4D94EE}" type="datetime1">
              <a:rPr lang="en-US" smtClean="0"/>
              <a:t>7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84A28-5CFC-4064-84AD-8427685188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37946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94274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12192000" cy="123827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2976413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2962" y="4407418"/>
            <a:ext cx="10363924" cy="1362097"/>
          </a:xfrm>
        </p:spPr>
        <p:txBody>
          <a:bodyPr anchor="t"/>
          <a:lstStyle>
            <a:lvl1pPr algn="l">
              <a:defRPr sz="3628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2962" y="2907058"/>
            <a:ext cx="10363924" cy="1500322"/>
          </a:xfrm>
        </p:spPr>
        <p:txBody>
          <a:bodyPr anchor="b"/>
          <a:lstStyle>
            <a:lvl1pPr marL="0" indent="0">
              <a:buNone/>
              <a:defRPr sz="1905"/>
            </a:lvl1pPr>
            <a:lvl2pPr marL="411745" indent="0">
              <a:buNone/>
              <a:defRPr sz="1633"/>
            </a:lvl2pPr>
            <a:lvl3pPr marL="823517" indent="0">
              <a:buNone/>
              <a:defRPr sz="1451"/>
            </a:lvl3pPr>
            <a:lvl4pPr marL="1235289" indent="0">
              <a:buNone/>
              <a:defRPr sz="1270"/>
            </a:lvl4pPr>
            <a:lvl5pPr marL="1647053" indent="0">
              <a:buNone/>
              <a:defRPr sz="1270"/>
            </a:lvl5pPr>
            <a:lvl6pPr marL="2058820" indent="0">
              <a:buNone/>
              <a:defRPr sz="1270"/>
            </a:lvl6pPr>
            <a:lvl7pPr marL="2470583" indent="0">
              <a:buNone/>
              <a:defRPr sz="1270"/>
            </a:lvl7pPr>
            <a:lvl8pPr marL="2882345" indent="0">
              <a:buNone/>
              <a:defRPr sz="1270"/>
            </a:lvl8pPr>
            <a:lvl9pPr marL="3294111" indent="0">
              <a:buNone/>
              <a:defRPr sz="127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67727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90057" y="1380815"/>
            <a:ext cx="5440787" cy="4611835"/>
          </a:xfrm>
        </p:spPr>
        <p:txBody>
          <a:bodyPr/>
          <a:lstStyle>
            <a:lvl1pPr>
              <a:defRPr sz="2630"/>
            </a:lvl1pPr>
            <a:lvl2pPr>
              <a:defRPr sz="2177"/>
            </a:lvl2pPr>
            <a:lvl3pPr>
              <a:defRPr sz="1905"/>
            </a:lvl3pPr>
            <a:lvl4pPr>
              <a:defRPr sz="1633"/>
            </a:lvl4pPr>
            <a:lvl5pPr>
              <a:defRPr sz="1633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04601" y="1380815"/>
            <a:ext cx="5440787" cy="4611835"/>
          </a:xfrm>
        </p:spPr>
        <p:txBody>
          <a:bodyPr/>
          <a:lstStyle>
            <a:lvl1pPr>
              <a:defRPr sz="2630"/>
            </a:lvl1pPr>
            <a:lvl2pPr>
              <a:defRPr sz="2177"/>
            </a:lvl2pPr>
            <a:lvl3pPr>
              <a:defRPr sz="1905"/>
            </a:lvl3pPr>
            <a:lvl4pPr>
              <a:defRPr sz="1633"/>
            </a:lvl4pPr>
            <a:lvl5pPr>
              <a:defRPr sz="1633"/>
            </a:lvl5pPr>
            <a:lvl6pPr>
              <a:defRPr sz="1633"/>
            </a:lvl6pPr>
            <a:lvl7pPr>
              <a:defRPr sz="1633"/>
            </a:lvl7pPr>
            <a:lvl8pPr>
              <a:defRPr sz="1633"/>
            </a:lvl8pPr>
            <a:lvl9pPr>
              <a:defRPr sz="16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71803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016" y="275017"/>
            <a:ext cx="10972076" cy="114324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966" y="1534880"/>
            <a:ext cx="5386489" cy="639293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1745" indent="0">
              <a:buNone/>
              <a:defRPr sz="1905" b="1"/>
            </a:lvl2pPr>
            <a:lvl3pPr marL="823517" indent="0">
              <a:buNone/>
              <a:defRPr sz="1633" b="1"/>
            </a:lvl3pPr>
            <a:lvl4pPr marL="1235289" indent="0">
              <a:buNone/>
              <a:defRPr sz="1451" b="1"/>
            </a:lvl4pPr>
            <a:lvl5pPr marL="1647053" indent="0">
              <a:buNone/>
              <a:defRPr sz="1451" b="1"/>
            </a:lvl5pPr>
            <a:lvl6pPr marL="2058820" indent="0">
              <a:buNone/>
              <a:defRPr sz="1451" b="1"/>
            </a:lvl6pPr>
            <a:lvl7pPr marL="2470583" indent="0">
              <a:buNone/>
              <a:defRPr sz="1451" b="1"/>
            </a:lvl7pPr>
            <a:lvl8pPr marL="2882345" indent="0">
              <a:buNone/>
              <a:defRPr sz="1451" b="1"/>
            </a:lvl8pPr>
            <a:lvl9pPr marL="3294111" indent="0">
              <a:buNone/>
              <a:defRPr sz="145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966" y="2174174"/>
            <a:ext cx="5386489" cy="3952385"/>
          </a:xfrm>
        </p:spPr>
        <p:txBody>
          <a:bodyPr/>
          <a:lstStyle>
            <a:lvl1pPr>
              <a:defRPr sz="2177"/>
            </a:lvl1pPr>
            <a:lvl2pPr>
              <a:defRPr sz="1905"/>
            </a:lvl2pPr>
            <a:lvl3pPr>
              <a:defRPr sz="1633"/>
            </a:lvl3pPr>
            <a:lvl4pPr>
              <a:defRPr sz="1451"/>
            </a:lvl4pPr>
            <a:lvl5pPr>
              <a:defRPr sz="1451"/>
            </a:lvl5pPr>
            <a:lvl6pPr>
              <a:defRPr sz="1451"/>
            </a:lvl6pPr>
            <a:lvl7pPr>
              <a:defRPr sz="1451"/>
            </a:lvl7pPr>
            <a:lvl8pPr>
              <a:defRPr sz="1451"/>
            </a:lvl8pPr>
            <a:lvl9pPr>
              <a:defRPr sz="145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743" y="1534880"/>
            <a:ext cx="5388300" cy="639293"/>
          </a:xfrm>
        </p:spPr>
        <p:txBody>
          <a:bodyPr anchor="b"/>
          <a:lstStyle>
            <a:lvl1pPr marL="0" indent="0">
              <a:buNone/>
              <a:defRPr sz="2177" b="1"/>
            </a:lvl1pPr>
            <a:lvl2pPr marL="411745" indent="0">
              <a:buNone/>
              <a:defRPr sz="1905" b="1"/>
            </a:lvl2pPr>
            <a:lvl3pPr marL="823517" indent="0">
              <a:buNone/>
              <a:defRPr sz="1633" b="1"/>
            </a:lvl3pPr>
            <a:lvl4pPr marL="1235289" indent="0">
              <a:buNone/>
              <a:defRPr sz="1451" b="1"/>
            </a:lvl4pPr>
            <a:lvl5pPr marL="1647053" indent="0">
              <a:buNone/>
              <a:defRPr sz="1451" b="1"/>
            </a:lvl5pPr>
            <a:lvl6pPr marL="2058820" indent="0">
              <a:buNone/>
              <a:defRPr sz="1451" b="1"/>
            </a:lvl6pPr>
            <a:lvl7pPr marL="2470583" indent="0">
              <a:buNone/>
              <a:defRPr sz="1451" b="1"/>
            </a:lvl7pPr>
            <a:lvl8pPr marL="2882345" indent="0">
              <a:buNone/>
              <a:defRPr sz="1451" b="1"/>
            </a:lvl8pPr>
            <a:lvl9pPr marL="3294111" indent="0">
              <a:buNone/>
              <a:defRPr sz="1451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743" y="2174174"/>
            <a:ext cx="5388300" cy="3952385"/>
          </a:xfrm>
        </p:spPr>
        <p:txBody>
          <a:bodyPr/>
          <a:lstStyle>
            <a:lvl1pPr>
              <a:defRPr sz="2177"/>
            </a:lvl1pPr>
            <a:lvl2pPr>
              <a:defRPr sz="1905"/>
            </a:lvl2pPr>
            <a:lvl3pPr>
              <a:defRPr sz="1633"/>
            </a:lvl3pPr>
            <a:lvl4pPr>
              <a:defRPr sz="1451"/>
            </a:lvl4pPr>
            <a:lvl5pPr>
              <a:defRPr sz="1451"/>
            </a:lvl5pPr>
            <a:lvl6pPr>
              <a:defRPr sz="1451"/>
            </a:lvl6pPr>
            <a:lvl7pPr>
              <a:defRPr sz="1451"/>
            </a:lvl7pPr>
            <a:lvl8pPr>
              <a:defRPr sz="1451"/>
            </a:lvl8pPr>
            <a:lvl9pPr>
              <a:defRPr sz="1451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4302398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48391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31323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0015" y="273576"/>
            <a:ext cx="4010909" cy="1161958"/>
          </a:xfrm>
        </p:spPr>
        <p:txBody>
          <a:bodyPr anchor="b"/>
          <a:lstStyle>
            <a:lvl1pPr algn="l">
              <a:defRPr sz="190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7482" y="273571"/>
            <a:ext cx="6814561" cy="5852986"/>
          </a:xfrm>
        </p:spPr>
        <p:txBody>
          <a:bodyPr/>
          <a:lstStyle>
            <a:lvl1pPr>
              <a:defRPr sz="2902"/>
            </a:lvl1pPr>
            <a:lvl2pPr>
              <a:defRPr sz="2630"/>
            </a:lvl2pPr>
            <a:lvl3pPr>
              <a:defRPr sz="2177"/>
            </a:lvl3pPr>
            <a:lvl4pPr>
              <a:defRPr sz="1905"/>
            </a:lvl4pPr>
            <a:lvl5pPr>
              <a:defRPr sz="1905"/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0015" y="1435570"/>
            <a:ext cx="4010909" cy="4691027"/>
          </a:xfrm>
        </p:spPr>
        <p:txBody>
          <a:bodyPr/>
          <a:lstStyle>
            <a:lvl1pPr marL="0" indent="0">
              <a:buNone/>
              <a:defRPr sz="1270"/>
            </a:lvl1pPr>
            <a:lvl2pPr marL="411745" indent="0">
              <a:buNone/>
              <a:defRPr sz="1179"/>
            </a:lvl2pPr>
            <a:lvl3pPr marL="823517" indent="0">
              <a:buNone/>
              <a:defRPr sz="907"/>
            </a:lvl3pPr>
            <a:lvl4pPr marL="1235289" indent="0">
              <a:buNone/>
              <a:defRPr sz="816"/>
            </a:lvl4pPr>
            <a:lvl5pPr marL="1647053" indent="0">
              <a:buNone/>
              <a:defRPr sz="816"/>
            </a:lvl5pPr>
            <a:lvl6pPr marL="2058820" indent="0">
              <a:buNone/>
              <a:defRPr sz="816"/>
            </a:lvl6pPr>
            <a:lvl7pPr marL="2470583" indent="0">
              <a:buNone/>
              <a:defRPr sz="816"/>
            </a:lvl7pPr>
            <a:lvl8pPr marL="2882345" indent="0">
              <a:buNone/>
              <a:defRPr sz="816"/>
            </a:lvl8pPr>
            <a:lvl9pPr marL="3294111" indent="0">
              <a:buNone/>
              <a:defRPr sz="81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84076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57D549-558C-41B3-BED8-7B4E50CE1A05}" type="datetime1">
              <a:rPr lang="en-US" smtClean="0"/>
              <a:t>7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84A28-5CFC-4064-84AD-8427685188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35801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223" y="4800456"/>
            <a:ext cx="7315924" cy="567300"/>
          </a:xfrm>
        </p:spPr>
        <p:txBody>
          <a:bodyPr anchor="b"/>
          <a:lstStyle>
            <a:lvl1pPr algn="l">
              <a:defRPr sz="1905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223" y="613376"/>
            <a:ext cx="7315924" cy="4113648"/>
          </a:xfrm>
        </p:spPr>
        <p:txBody>
          <a:bodyPr/>
          <a:lstStyle>
            <a:lvl1pPr marL="0" indent="0">
              <a:buNone/>
              <a:defRPr sz="2902"/>
            </a:lvl1pPr>
            <a:lvl2pPr marL="411745" indent="0">
              <a:buNone/>
              <a:defRPr sz="2630"/>
            </a:lvl2pPr>
            <a:lvl3pPr marL="823517" indent="0">
              <a:buNone/>
              <a:defRPr sz="2177"/>
            </a:lvl3pPr>
            <a:lvl4pPr marL="1235289" indent="0">
              <a:buNone/>
              <a:defRPr sz="1905"/>
            </a:lvl4pPr>
            <a:lvl5pPr marL="1647053" indent="0">
              <a:buNone/>
              <a:defRPr sz="1905"/>
            </a:lvl5pPr>
            <a:lvl6pPr marL="2058820" indent="0">
              <a:buNone/>
              <a:defRPr sz="1905"/>
            </a:lvl6pPr>
            <a:lvl7pPr marL="2470583" indent="0">
              <a:buNone/>
              <a:defRPr sz="1905"/>
            </a:lvl7pPr>
            <a:lvl8pPr marL="2882345" indent="0">
              <a:buNone/>
              <a:defRPr sz="1905"/>
            </a:lvl8pPr>
            <a:lvl9pPr marL="3294111" indent="0">
              <a:buNone/>
              <a:defRPr sz="1905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223" y="5367757"/>
            <a:ext cx="7315924" cy="804876"/>
          </a:xfrm>
        </p:spPr>
        <p:txBody>
          <a:bodyPr/>
          <a:lstStyle>
            <a:lvl1pPr marL="0" indent="0">
              <a:buNone/>
              <a:defRPr sz="1270"/>
            </a:lvl1pPr>
            <a:lvl2pPr marL="411745" indent="0">
              <a:buNone/>
              <a:defRPr sz="1179"/>
            </a:lvl2pPr>
            <a:lvl3pPr marL="823517" indent="0">
              <a:buNone/>
              <a:defRPr sz="907"/>
            </a:lvl3pPr>
            <a:lvl4pPr marL="1235289" indent="0">
              <a:buNone/>
              <a:defRPr sz="816"/>
            </a:lvl4pPr>
            <a:lvl5pPr marL="1647053" indent="0">
              <a:buNone/>
              <a:defRPr sz="816"/>
            </a:lvl5pPr>
            <a:lvl6pPr marL="2058820" indent="0">
              <a:buNone/>
              <a:defRPr sz="816"/>
            </a:lvl6pPr>
            <a:lvl7pPr marL="2470583" indent="0">
              <a:buNone/>
              <a:defRPr sz="816"/>
            </a:lvl7pPr>
            <a:lvl8pPr marL="2882345" indent="0">
              <a:buNone/>
              <a:defRPr sz="816"/>
            </a:lvl8pPr>
            <a:lvl9pPr marL="3294111" indent="0">
              <a:buNone/>
              <a:defRPr sz="816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787767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227967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44000" y="1"/>
            <a:ext cx="3048000" cy="59926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0" y="1"/>
            <a:ext cx="8970242" cy="59926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84992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5F35E44-72CB-4AFA-8DA6-C89EBC957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15" r="19754"/>
          <a:stretch/>
        </p:blipFill>
        <p:spPr>
          <a:xfrm>
            <a:off x="8582080" y="2501220"/>
            <a:ext cx="2919489" cy="2753952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92B0A619-F6AA-4053-9D4A-55C4BC7B0046}"/>
              </a:ext>
            </a:extLst>
          </p:cNvPr>
          <p:cNvSpPr/>
          <p:nvPr userDrawn="1"/>
        </p:nvSpPr>
        <p:spPr>
          <a:xfrm>
            <a:off x="419100" y="0"/>
            <a:ext cx="11772901" cy="1194093"/>
          </a:xfrm>
          <a:prstGeom prst="rect">
            <a:avLst/>
          </a:prstGeom>
          <a:gradFill flip="none" rotWithShape="1">
            <a:gsLst>
              <a:gs pos="0">
                <a:srgbClr val="55BF8B"/>
              </a:gs>
              <a:gs pos="96000">
                <a:srgbClr val="145E71"/>
              </a:gs>
            </a:gsLst>
            <a:lin ang="12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/>
          <p:cNvSpPr>
            <a:spLocks noGrp="1"/>
          </p:cNvSpPr>
          <p:nvPr userDrawn="1">
            <p:ph type="title"/>
          </p:nvPr>
        </p:nvSpPr>
        <p:spPr>
          <a:xfrm>
            <a:off x="696687" y="12129"/>
            <a:ext cx="11495315" cy="1155779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4000"/>
              </a:lnSpc>
              <a:defRPr sz="3733" b="1" baseline="0">
                <a:solidFill>
                  <a:schemeClr val="tx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ubtitle 2"/>
          <p:cNvSpPr>
            <a:spLocks noGrp="1"/>
          </p:cNvSpPr>
          <p:nvPr userDrawn="1">
            <p:ph type="subTitle" idx="1"/>
          </p:nvPr>
        </p:nvSpPr>
        <p:spPr>
          <a:xfrm>
            <a:off x="696687" y="1368341"/>
            <a:ext cx="10156192" cy="4572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67" b="1" baseline="0">
                <a:solidFill>
                  <a:srgbClr val="2D2D2D"/>
                </a:solidFill>
                <a:effectLst/>
                <a:latin typeface="Calibri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0"/>
          </p:nvPr>
        </p:nvSpPr>
        <p:spPr>
          <a:xfrm>
            <a:off x="616740" y="2520846"/>
            <a:ext cx="10156192" cy="1039317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667"/>
              </a:lnSpc>
              <a:buNone/>
              <a:defRPr sz="2400" baseline="0">
                <a:solidFill>
                  <a:srgbClr val="2D2D2D"/>
                </a:solidFill>
                <a:latin typeface="Calibri" pitchFamily="34" charset="0"/>
              </a:defRPr>
            </a:lvl1pPr>
            <a:lvl2pPr algn="ctr">
              <a:defRPr>
                <a:solidFill>
                  <a:schemeClr val="tx2"/>
                </a:solidFill>
              </a:defRPr>
            </a:lvl2pPr>
            <a:lvl3pPr algn="ctr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tx2"/>
                </a:solidFill>
              </a:defRPr>
            </a:lvl4pPr>
            <a:lvl5pPr algn="ctr">
              <a:defRPr>
                <a:solidFill>
                  <a:schemeClr val="tx2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17" name="Picture 16" descr="Logos of the U.S. Department of Health and Human Services and Centers for Disease Control and Prevention" title="LOGO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919" y="5706813"/>
            <a:ext cx="1672779" cy="95900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54EDCE1-A912-48DB-9E58-051F8752A375}"/>
              </a:ext>
            </a:extLst>
          </p:cNvPr>
          <p:cNvSpPr txBox="1"/>
          <p:nvPr userDrawn="1"/>
        </p:nvSpPr>
        <p:spPr>
          <a:xfrm>
            <a:off x="6616119" y="6203244"/>
            <a:ext cx="5575883" cy="420564"/>
          </a:xfrm>
          <a:prstGeom prst="rect">
            <a:avLst/>
          </a:prstGeom>
          <a:solidFill>
            <a:srgbClr val="FBAB18"/>
          </a:solidFill>
        </p:spPr>
        <p:txBody>
          <a:bodyPr wrap="square" rtlCol="0">
            <a:spAutoFit/>
          </a:bodyPr>
          <a:lstStyle/>
          <a:p>
            <a:pPr marL="380990" marR="0" lvl="0" indent="0" algn="l" defTabSz="121917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133" b="1">
                <a:solidFill>
                  <a:srgbClr val="2D2D2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dc.gov/coronaviru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2900023D-2373-43F5-A4AA-FD7F91255A55}"/>
              </a:ext>
            </a:extLst>
          </p:cNvPr>
          <p:cNvGrpSpPr/>
          <p:nvPr userDrawn="1"/>
        </p:nvGrpSpPr>
        <p:grpSpPr>
          <a:xfrm>
            <a:off x="1" y="2"/>
            <a:ext cx="356209" cy="1194093"/>
            <a:chOff x="2721769" y="2050256"/>
            <a:chExt cx="442912" cy="146966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75925BE-9EF0-43F9-9D78-64BD587500CA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n>
                  <a:noFill/>
                </a:ln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9245E9D-1A1B-4F74-AD8C-354693087FC0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1521292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92B0A619-F6AA-4053-9D4A-55C4BC7B004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55BF8B"/>
              </a:gs>
              <a:gs pos="96000">
                <a:srgbClr val="145E71"/>
              </a:gs>
            </a:gsLst>
            <a:lin ang="12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Title 1"/>
          <p:cNvSpPr>
            <a:spLocks noGrp="1"/>
          </p:cNvSpPr>
          <p:nvPr userDrawn="1">
            <p:ph type="title"/>
          </p:nvPr>
        </p:nvSpPr>
        <p:spPr>
          <a:xfrm>
            <a:off x="914401" y="12129"/>
            <a:ext cx="11277600" cy="1155779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4000"/>
              </a:lnSpc>
              <a:defRPr sz="3733" b="1" baseline="0">
                <a:solidFill>
                  <a:schemeClr val="tx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ubtitle 2"/>
          <p:cNvSpPr>
            <a:spLocks noGrp="1"/>
          </p:cNvSpPr>
          <p:nvPr userDrawn="1">
            <p:ph type="subTitle" idx="1"/>
          </p:nvPr>
        </p:nvSpPr>
        <p:spPr>
          <a:xfrm>
            <a:off x="914402" y="1415968"/>
            <a:ext cx="9938477" cy="4572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67" b="1" baseline="0">
                <a:solidFill>
                  <a:schemeClr val="tx2"/>
                </a:solidFill>
                <a:effectLst/>
                <a:latin typeface="Calibri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0"/>
          </p:nvPr>
        </p:nvSpPr>
        <p:spPr>
          <a:xfrm>
            <a:off x="914401" y="2520846"/>
            <a:ext cx="9858531" cy="1039317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667"/>
              </a:lnSpc>
              <a:buNone/>
              <a:defRPr sz="2400" baseline="0">
                <a:solidFill>
                  <a:schemeClr val="tx2"/>
                </a:solidFill>
                <a:latin typeface="Calibri" pitchFamily="34" charset="0"/>
              </a:defRPr>
            </a:lvl1pPr>
            <a:lvl2pPr algn="ctr">
              <a:defRPr>
                <a:solidFill>
                  <a:schemeClr val="tx2"/>
                </a:solidFill>
              </a:defRPr>
            </a:lvl2pPr>
            <a:lvl3pPr algn="ctr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tx2"/>
                </a:solidFill>
              </a:defRPr>
            </a:lvl4pPr>
            <a:lvl5pPr algn="ctr">
              <a:defRPr>
                <a:solidFill>
                  <a:schemeClr val="tx2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17" name="Picture 16" descr="Logos of the U.S. Department of Health and Human Services and Centers for Disease Control and Prevention" title="LOGO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919" y="5706813"/>
            <a:ext cx="1672779" cy="959001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CC3D0F8F-59A2-423C-A3F9-4CCC5E04EB88}"/>
              </a:ext>
            </a:extLst>
          </p:cNvPr>
          <p:cNvGrpSpPr/>
          <p:nvPr userDrawn="1"/>
        </p:nvGrpSpPr>
        <p:grpSpPr>
          <a:xfrm>
            <a:off x="1" y="2"/>
            <a:ext cx="356209" cy="1194093"/>
            <a:chOff x="2721769" y="2050256"/>
            <a:chExt cx="442912" cy="146966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32F05D3-C03C-45E4-9FA9-D106B2E80059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n>
                  <a:noFill/>
                </a:ln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86CBDE1-9FE4-4D39-8D29-C02C77614B0D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76129345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8110222" y="6727353"/>
            <a:ext cx="804111" cy="121584"/>
          </a:xfrm>
          <a:prstGeom prst="rect">
            <a:avLst/>
          </a:prstGeom>
          <a:solidFill>
            <a:srgbClr val="B01519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8903846" y="6727353"/>
            <a:ext cx="804111" cy="121584"/>
          </a:xfrm>
          <a:prstGeom prst="rect">
            <a:avLst/>
          </a:prstGeom>
          <a:solidFill>
            <a:srgbClr val="FBAB18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9707955" y="6727353"/>
            <a:ext cx="804765" cy="121584"/>
          </a:xfrm>
          <a:prstGeom prst="rect">
            <a:avLst/>
          </a:prstGeom>
          <a:solidFill>
            <a:srgbClr val="292B6E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0494264" y="6727353"/>
            <a:ext cx="1697737" cy="121584"/>
          </a:xfrm>
          <a:prstGeom prst="rect">
            <a:avLst/>
          </a:prstGeom>
          <a:solidFill>
            <a:srgbClr val="4656A6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2" name="Rectangle 20"/>
          <p:cNvSpPr>
            <a:spLocks noChangeArrowheads="1"/>
          </p:cNvSpPr>
          <p:nvPr userDrawn="1"/>
        </p:nvSpPr>
        <p:spPr bwMode="auto">
          <a:xfrm>
            <a:off x="1" y="6727353"/>
            <a:ext cx="7572332" cy="121584"/>
          </a:xfrm>
          <a:prstGeom prst="rect">
            <a:avLst/>
          </a:prstGeom>
          <a:solidFill>
            <a:srgbClr val="17468F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7308078" y="6727353"/>
            <a:ext cx="804111" cy="121584"/>
          </a:xfrm>
          <a:prstGeom prst="rect">
            <a:avLst/>
          </a:prstGeom>
          <a:solidFill>
            <a:srgbClr val="55BF8B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609600" y="274639"/>
            <a:ext cx="10972800" cy="91945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006A71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5" name="Text Placeholder 7"/>
          <p:cNvSpPr>
            <a:spLocks noGrp="1"/>
          </p:cNvSpPr>
          <p:nvPr userDrawn="1">
            <p:ph type="body" sz="quarter" idx="10"/>
          </p:nvPr>
        </p:nvSpPr>
        <p:spPr>
          <a:xfrm>
            <a:off x="609600" y="1545167"/>
            <a:ext cx="10972800" cy="4455584"/>
          </a:xfrm>
        </p:spPr>
        <p:txBody>
          <a:bodyPr/>
          <a:lstStyle>
            <a:lvl1pPr marL="306910" indent="-306910">
              <a:buClr>
                <a:srgbClr val="005DAA"/>
              </a:buClr>
              <a:buFont typeface="Wingdings" panose="05000000000000000000" pitchFamily="2" charset="2"/>
              <a:buChar char="§"/>
              <a:defRPr sz="2667">
                <a:solidFill>
                  <a:srgbClr val="2D2D2D"/>
                </a:solidFill>
              </a:defRPr>
            </a:lvl1pPr>
            <a:lvl2pPr>
              <a:buClr>
                <a:srgbClr val="532E63"/>
              </a:buClr>
              <a:defRPr sz="2667">
                <a:solidFill>
                  <a:srgbClr val="2D2D2D"/>
                </a:solidFill>
              </a:defRPr>
            </a:lvl2pPr>
            <a:lvl3pPr>
              <a:buClr>
                <a:srgbClr val="9A3B26"/>
              </a:buClr>
              <a:defRPr sz="2667">
                <a:solidFill>
                  <a:srgbClr val="2D2D2D"/>
                </a:solidFill>
              </a:defRPr>
            </a:lvl3pPr>
            <a:lvl4pPr>
              <a:defRPr sz="2667">
                <a:solidFill>
                  <a:schemeClr val="accent4">
                    <a:lumMod val="75000"/>
                  </a:schemeClr>
                </a:solidFill>
              </a:defRPr>
            </a:lvl4pPr>
            <a:lvl5pPr>
              <a:defRPr sz="2667">
                <a:solidFill>
                  <a:schemeClr val="accent4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1" name="Picture 20" descr="Logos of the U.S. Department of Health and Human Services and Centers for Disease Control and Prevention" title="LOGOS">
            <a:extLst>
              <a:ext uri="{FF2B5EF4-FFF2-40B4-BE49-F238E27FC236}">
                <a16:creationId xmlns:a16="http://schemas.microsoft.com/office/drawing/2014/main" id="{5EB3B0CC-979E-4460-961A-7E5D5213A0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919" y="6001464"/>
            <a:ext cx="1158819" cy="66434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9256BCB5-3FA6-46A4-BD0C-A091D9F1922D}"/>
              </a:ext>
            </a:extLst>
          </p:cNvPr>
          <p:cNvGrpSpPr/>
          <p:nvPr userDrawn="1"/>
        </p:nvGrpSpPr>
        <p:grpSpPr>
          <a:xfrm>
            <a:off x="1" y="2"/>
            <a:ext cx="356209" cy="1194093"/>
            <a:chOff x="2721769" y="2050256"/>
            <a:chExt cx="442912" cy="146966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5B91796-8B0E-4339-853E-86194B92F336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n>
                  <a:noFill/>
                </a:ln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B4E0A8E-0F30-4F8C-A535-BEEA20A4E70F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n>
                  <a:noFill/>
                </a:ln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835CD501-D0B0-47F8-A8C4-F94868195325}"/>
              </a:ext>
            </a:extLst>
          </p:cNvPr>
          <p:cNvSpPr txBox="1"/>
          <p:nvPr userDrawn="1"/>
        </p:nvSpPr>
        <p:spPr>
          <a:xfrm>
            <a:off x="11619346" y="6358022"/>
            <a:ext cx="57265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AA7D13F0-7773-45D7-B9D5-1E44196E1A29}" type="slidenum">
              <a:rPr lang="en-US" sz="1600" smtClean="0">
                <a:solidFill>
                  <a:srgbClr val="000000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en-US" sz="1867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164199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TA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8110222" y="6727353"/>
            <a:ext cx="804111" cy="121584"/>
          </a:xfrm>
          <a:prstGeom prst="rect">
            <a:avLst/>
          </a:prstGeom>
          <a:solidFill>
            <a:srgbClr val="B01519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8903846" y="6727353"/>
            <a:ext cx="804111" cy="121584"/>
          </a:xfrm>
          <a:prstGeom prst="rect">
            <a:avLst/>
          </a:prstGeom>
          <a:solidFill>
            <a:srgbClr val="FBAB18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9707955" y="6727353"/>
            <a:ext cx="804765" cy="121584"/>
          </a:xfrm>
          <a:prstGeom prst="rect">
            <a:avLst/>
          </a:prstGeom>
          <a:solidFill>
            <a:srgbClr val="292B6E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0494264" y="6727353"/>
            <a:ext cx="1697737" cy="121584"/>
          </a:xfrm>
          <a:prstGeom prst="rect">
            <a:avLst/>
          </a:prstGeom>
          <a:solidFill>
            <a:srgbClr val="4656A6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2" name="Rectangle 20"/>
          <p:cNvSpPr>
            <a:spLocks noChangeArrowheads="1"/>
          </p:cNvSpPr>
          <p:nvPr userDrawn="1"/>
        </p:nvSpPr>
        <p:spPr bwMode="auto">
          <a:xfrm>
            <a:off x="1" y="6727353"/>
            <a:ext cx="7572332" cy="121584"/>
          </a:xfrm>
          <a:prstGeom prst="rect">
            <a:avLst/>
          </a:prstGeom>
          <a:solidFill>
            <a:srgbClr val="17468F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7308078" y="6727353"/>
            <a:ext cx="804111" cy="121584"/>
          </a:xfrm>
          <a:prstGeom prst="rect">
            <a:avLst/>
          </a:prstGeom>
          <a:solidFill>
            <a:srgbClr val="55BF8B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609600" y="274639"/>
            <a:ext cx="10972800" cy="91945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006A71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5" name="Text Placeholder 7"/>
          <p:cNvSpPr>
            <a:spLocks noGrp="1"/>
          </p:cNvSpPr>
          <p:nvPr userDrawn="1">
            <p:ph type="body" sz="quarter" idx="10"/>
          </p:nvPr>
        </p:nvSpPr>
        <p:spPr>
          <a:xfrm>
            <a:off x="609600" y="1545167"/>
            <a:ext cx="10972800" cy="4455584"/>
          </a:xfrm>
        </p:spPr>
        <p:txBody>
          <a:bodyPr/>
          <a:lstStyle>
            <a:lvl1pPr marL="306910" indent="-306910">
              <a:buClr>
                <a:srgbClr val="005DAA"/>
              </a:buClr>
              <a:buFont typeface="Wingdings" panose="05000000000000000000" pitchFamily="2" charset="2"/>
              <a:buChar char="§"/>
              <a:defRPr sz="2667">
                <a:solidFill>
                  <a:srgbClr val="2D2D2D"/>
                </a:solidFill>
              </a:defRPr>
            </a:lvl1pPr>
            <a:lvl2pPr>
              <a:buClr>
                <a:srgbClr val="532E63"/>
              </a:buClr>
              <a:defRPr sz="2667">
                <a:solidFill>
                  <a:srgbClr val="2D2D2D"/>
                </a:solidFill>
              </a:defRPr>
            </a:lvl2pPr>
            <a:lvl3pPr>
              <a:buClr>
                <a:srgbClr val="9A3B26"/>
              </a:buClr>
              <a:defRPr sz="2667">
                <a:solidFill>
                  <a:srgbClr val="2D2D2D"/>
                </a:solidFill>
              </a:defRPr>
            </a:lvl3pPr>
            <a:lvl4pPr>
              <a:defRPr sz="2667">
                <a:solidFill>
                  <a:schemeClr val="accent4">
                    <a:lumMod val="75000"/>
                  </a:schemeClr>
                </a:solidFill>
              </a:defRPr>
            </a:lvl4pPr>
            <a:lvl5pPr>
              <a:defRPr sz="2667">
                <a:solidFill>
                  <a:schemeClr val="accent4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256BCB5-3FA6-46A4-BD0C-A091D9F1922D}"/>
              </a:ext>
            </a:extLst>
          </p:cNvPr>
          <p:cNvGrpSpPr/>
          <p:nvPr userDrawn="1"/>
        </p:nvGrpSpPr>
        <p:grpSpPr>
          <a:xfrm>
            <a:off x="1" y="2"/>
            <a:ext cx="356209" cy="1194093"/>
            <a:chOff x="2721769" y="2050256"/>
            <a:chExt cx="442912" cy="146966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5B91796-8B0E-4339-853E-86194B92F336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n>
                  <a:noFill/>
                </a:ln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B4E0A8E-0F30-4F8C-A535-BEEA20A4E70F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9290516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 2 colum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006A71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00201"/>
            <a:ext cx="5172892" cy="419100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32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990575" indent="-380990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24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24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2400">
                <a:solidFill>
                  <a:schemeClr val="bg2"/>
                </a:solidFill>
              </a:defRPr>
            </a:lvl5pPr>
          </a:lstStyle>
          <a:p>
            <a:pPr lvl="2"/>
            <a:endParaRPr lang="en-US"/>
          </a:p>
          <a:p>
            <a:pPr lvl="0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 userDrawn="1">
            <p:ph idx="10"/>
          </p:nvPr>
        </p:nvSpPr>
        <p:spPr>
          <a:xfrm>
            <a:off x="6409509" y="1600201"/>
            <a:ext cx="5172892" cy="419100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32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990575" indent="-380990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24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24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2400">
                <a:solidFill>
                  <a:schemeClr val="bg2"/>
                </a:solidFill>
              </a:defRPr>
            </a:lvl5pPr>
          </a:lstStyle>
          <a:p>
            <a:pPr lvl="2"/>
            <a:endParaRPr lang="en-US"/>
          </a:p>
          <a:p>
            <a:pPr lvl="0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16945D-7463-43F9-B460-2CF43DA200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10222" y="6727353"/>
            <a:ext cx="804111" cy="121584"/>
          </a:xfrm>
          <a:prstGeom prst="rect">
            <a:avLst/>
          </a:prstGeom>
          <a:solidFill>
            <a:srgbClr val="B01519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8D9C951-7795-4013-A98F-41CA15626AB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03846" y="6727353"/>
            <a:ext cx="804111" cy="121584"/>
          </a:xfrm>
          <a:prstGeom prst="rect">
            <a:avLst/>
          </a:prstGeom>
          <a:solidFill>
            <a:srgbClr val="FBAB18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E138E91-A144-4218-9895-5E4D3582AD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707955" y="6727353"/>
            <a:ext cx="804765" cy="121584"/>
          </a:xfrm>
          <a:prstGeom prst="rect">
            <a:avLst/>
          </a:prstGeom>
          <a:solidFill>
            <a:srgbClr val="292B6E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EF4E6B6-BDAE-40A5-9E22-D7B6320CBA1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494264" y="6727353"/>
            <a:ext cx="1697737" cy="121584"/>
          </a:xfrm>
          <a:prstGeom prst="rect">
            <a:avLst/>
          </a:prstGeom>
          <a:solidFill>
            <a:srgbClr val="4656A6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9" name="Rectangle 20">
            <a:extLst>
              <a:ext uri="{FF2B5EF4-FFF2-40B4-BE49-F238E27FC236}">
                <a16:creationId xmlns:a16="http://schemas.microsoft.com/office/drawing/2014/main" id="{E71CFAF4-5909-4817-B92D-CE4D29DFF7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" y="6727353"/>
            <a:ext cx="7572332" cy="121584"/>
          </a:xfrm>
          <a:prstGeom prst="rect">
            <a:avLst/>
          </a:prstGeom>
          <a:solidFill>
            <a:srgbClr val="17468F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0E6DC0A-1388-4428-BA38-59223C425A4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078" y="6727353"/>
            <a:ext cx="804111" cy="121584"/>
          </a:xfrm>
          <a:prstGeom prst="rect">
            <a:avLst/>
          </a:prstGeom>
          <a:solidFill>
            <a:srgbClr val="55BF8B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pic>
        <p:nvPicPr>
          <p:cNvPr id="21" name="Picture 20" descr="Logos of the U.S. Department of Health and Human Services and Centers for Disease Control and Prevention" title="LOGOS">
            <a:extLst>
              <a:ext uri="{FF2B5EF4-FFF2-40B4-BE49-F238E27FC236}">
                <a16:creationId xmlns:a16="http://schemas.microsoft.com/office/drawing/2014/main" id="{84213D48-D055-4EE8-9726-533AB8E26A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919" y="5706813"/>
            <a:ext cx="1672779" cy="95900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AF318103-E3F0-462E-A0BE-161EC7EA9C7C}"/>
              </a:ext>
            </a:extLst>
          </p:cNvPr>
          <p:cNvGrpSpPr/>
          <p:nvPr userDrawn="1"/>
        </p:nvGrpSpPr>
        <p:grpSpPr>
          <a:xfrm>
            <a:off x="1" y="2"/>
            <a:ext cx="356209" cy="1194093"/>
            <a:chOff x="2721769" y="2050256"/>
            <a:chExt cx="442912" cy="146966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C2A256B-3279-4135-9C44-56940C3F4D28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n>
                  <a:noFill/>
                </a:ln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D7CDBA5-E900-4510-9676-E670A0189CF4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08923227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5A1850-1AB6-4331-A0AB-A6F93CDC02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185"/>
            <a:ext cx="10515600" cy="132503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3617747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TA SLIDE 2 colum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006A71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1" y="1600201"/>
            <a:ext cx="5172892" cy="419100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32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990575" indent="-380990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24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24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2400">
                <a:solidFill>
                  <a:schemeClr val="bg2"/>
                </a:solidFill>
              </a:defRPr>
            </a:lvl5pPr>
          </a:lstStyle>
          <a:p>
            <a:pPr lvl="2"/>
            <a:endParaRPr lang="en-US"/>
          </a:p>
          <a:p>
            <a:pPr lvl="0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 userDrawn="1">
            <p:ph idx="10"/>
          </p:nvPr>
        </p:nvSpPr>
        <p:spPr>
          <a:xfrm>
            <a:off x="6409509" y="1600201"/>
            <a:ext cx="5172892" cy="419100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32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990575" indent="-380990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24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24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2400">
                <a:solidFill>
                  <a:schemeClr val="bg2"/>
                </a:solidFill>
              </a:defRPr>
            </a:lvl5pPr>
          </a:lstStyle>
          <a:p>
            <a:pPr lvl="2"/>
            <a:endParaRPr lang="en-US"/>
          </a:p>
          <a:p>
            <a:pPr lvl="0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16945D-7463-43F9-B460-2CF43DA200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10222" y="6727353"/>
            <a:ext cx="804111" cy="121584"/>
          </a:xfrm>
          <a:prstGeom prst="rect">
            <a:avLst/>
          </a:prstGeom>
          <a:solidFill>
            <a:srgbClr val="B01519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8D9C951-7795-4013-A98F-41CA15626AB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03846" y="6727353"/>
            <a:ext cx="804111" cy="121584"/>
          </a:xfrm>
          <a:prstGeom prst="rect">
            <a:avLst/>
          </a:prstGeom>
          <a:solidFill>
            <a:srgbClr val="FBAB18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E138E91-A144-4218-9895-5E4D3582AD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707955" y="6727353"/>
            <a:ext cx="804765" cy="121584"/>
          </a:xfrm>
          <a:prstGeom prst="rect">
            <a:avLst/>
          </a:prstGeom>
          <a:solidFill>
            <a:srgbClr val="292B6E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EF4E6B6-BDAE-40A5-9E22-D7B6320CBA1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494264" y="6727353"/>
            <a:ext cx="1697737" cy="121584"/>
          </a:xfrm>
          <a:prstGeom prst="rect">
            <a:avLst/>
          </a:prstGeom>
          <a:solidFill>
            <a:srgbClr val="4656A6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19" name="Rectangle 20">
            <a:extLst>
              <a:ext uri="{FF2B5EF4-FFF2-40B4-BE49-F238E27FC236}">
                <a16:creationId xmlns:a16="http://schemas.microsoft.com/office/drawing/2014/main" id="{E71CFAF4-5909-4817-B92D-CE4D29DFF7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" y="6727353"/>
            <a:ext cx="7572332" cy="121584"/>
          </a:xfrm>
          <a:prstGeom prst="rect">
            <a:avLst/>
          </a:prstGeom>
          <a:solidFill>
            <a:srgbClr val="17468F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0E6DC0A-1388-4428-BA38-59223C425A4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078" y="6727353"/>
            <a:ext cx="804111" cy="121584"/>
          </a:xfrm>
          <a:prstGeom prst="rect">
            <a:avLst/>
          </a:prstGeom>
          <a:solidFill>
            <a:srgbClr val="55BF8B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F318103-E3F0-462E-A0BE-161EC7EA9C7C}"/>
              </a:ext>
            </a:extLst>
          </p:cNvPr>
          <p:cNvGrpSpPr/>
          <p:nvPr userDrawn="1"/>
        </p:nvGrpSpPr>
        <p:grpSpPr>
          <a:xfrm>
            <a:off x="1" y="2"/>
            <a:ext cx="356209" cy="1194093"/>
            <a:chOff x="2721769" y="2050256"/>
            <a:chExt cx="442912" cy="146966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C2A256B-3279-4135-9C44-56940C3F4D28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n>
                  <a:noFill/>
                </a:ln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D7CDBA5-E900-4510-9676-E670A0189CF4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00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62301800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DB184C-FC9E-48BE-A738-5EEBEBBF3164}" type="datetime1">
              <a:rPr lang="en-US" smtClean="0"/>
              <a:t>7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84A28-5CFC-4064-84AD-8427685188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97769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or_background">
    <p:bg>
      <p:bgPr>
        <a:solidFill>
          <a:srgbClr val="006A7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485" y="3255151"/>
            <a:ext cx="11059884" cy="1162051"/>
          </a:xfrm>
          <a:prstGeom prst="rect">
            <a:avLst/>
          </a:prstGeom>
        </p:spPr>
        <p:txBody>
          <a:bodyPr anchor="b"/>
          <a:lstStyle>
            <a:lvl1pPr algn="l">
              <a:defRPr sz="4800" b="1" baseline="0">
                <a:solidFill>
                  <a:schemeClr val="bg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239484" y="4688982"/>
            <a:ext cx="10363200" cy="568325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ts val="2933"/>
              </a:lnSpc>
              <a:buNone/>
              <a:defRPr sz="2667" baseline="0">
                <a:solidFill>
                  <a:schemeClr val="bg2"/>
                </a:solidFill>
                <a:latin typeface="Calibri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622713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or_background">
    <p:bg>
      <p:bgPr>
        <a:solidFill>
          <a:srgbClr val="006A7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D1EDB832-85DB-47C2-990D-C76F1161C2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769425" y="674915"/>
            <a:ext cx="5979136" cy="57951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485" y="3255151"/>
            <a:ext cx="11059884" cy="1162051"/>
          </a:xfrm>
          <a:prstGeom prst="rect">
            <a:avLst/>
          </a:prstGeom>
        </p:spPr>
        <p:txBody>
          <a:bodyPr anchor="b"/>
          <a:lstStyle>
            <a:lvl1pPr algn="l">
              <a:defRPr sz="4800" b="1" baseline="0">
                <a:solidFill>
                  <a:schemeClr val="bg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239484" y="4688982"/>
            <a:ext cx="10363200" cy="568325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ts val="2933"/>
              </a:lnSpc>
              <a:buNone/>
              <a:defRPr sz="2667" baseline="0">
                <a:solidFill>
                  <a:schemeClr val="bg2"/>
                </a:solidFill>
                <a:latin typeface="Calibri" pitchFamily="34" charset="0"/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pic>
        <p:nvPicPr>
          <p:cNvPr id="4" name="Picture 3" descr="Logos of the U.S. Department of Health and Human Services and Centers for Disease Control and Prevention" title="LOGOS">
            <a:extLst>
              <a:ext uri="{FF2B5EF4-FFF2-40B4-BE49-F238E27FC236}">
                <a16:creationId xmlns:a16="http://schemas.microsoft.com/office/drawing/2014/main" id="{1338F5EA-D0AF-428F-B372-DAC2A9B1C51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639" y="5706813"/>
            <a:ext cx="1672779" cy="959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231627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40"/>
          <a:stretch/>
        </p:blipFill>
        <p:spPr>
          <a:xfrm>
            <a:off x="2608" y="5668739"/>
            <a:ext cx="12192000" cy="1177559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69625" y="3662433"/>
            <a:ext cx="885245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  <a:t>For more information, contact CDC</a:t>
            </a:r>
            <a:b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  <a:t>1-800-CDC-INFO (232-4636)</a:t>
            </a:r>
            <a:b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  <a:t>TTY:  1-888-232-6348    www.cdc.gov</a:t>
            </a:r>
            <a:b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  <a:t/>
            </a:r>
            <a:b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  <a:t/>
            </a:r>
            <a:b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  <a:t>The findings and conclusions in this report are those of the authors and do not necessarily represent the official position of the Centers for Disease Control and Prevention.</a:t>
            </a:r>
          </a:p>
        </p:txBody>
      </p:sp>
      <p:pic>
        <p:nvPicPr>
          <p:cNvPr id="4" name="Picture 3" descr="Logos of the U.S. Department of Health and Human Services and the Centers for Disease Control and Prevention." title="Logo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62473"/>
            <a:ext cx="12192000" cy="1183824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0" y="5662473"/>
            <a:ext cx="12192000" cy="1183824"/>
            <a:chOff x="0" y="-11827"/>
            <a:chExt cx="9144000" cy="170018"/>
          </a:xfrm>
        </p:grpSpPr>
        <p:sp>
          <p:nvSpPr>
            <p:cNvPr id="6" name="bk object 25"/>
            <p:cNvSpPr/>
            <p:nvPr userDrawn="1"/>
          </p:nvSpPr>
          <p:spPr>
            <a:xfrm>
              <a:off x="0" y="-11827"/>
              <a:ext cx="522365" cy="170018"/>
            </a:xfrm>
            <a:custGeom>
              <a:avLst/>
              <a:gdLst/>
              <a:ahLst/>
              <a:cxnLst/>
              <a:rect l="l" t="t" r="r" b="b"/>
              <a:pathLst>
                <a:path w="1047115" h="1413510">
                  <a:moveTo>
                    <a:pt x="1046875" y="0"/>
                  </a:moveTo>
                  <a:lnTo>
                    <a:pt x="0" y="0"/>
                  </a:lnTo>
                  <a:lnTo>
                    <a:pt x="0" y="1412925"/>
                  </a:lnTo>
                  <a:lnTo>
                    <a:pt x="869393" y="1412925"/>
                  </a:lnTo>
                  <a:lnTo>
                    <a:pt x="1046875" y="0"/>
                  </a:lnTo>
                  <a:close/>
                </a:path>
              </a:pathLst>
            </a:custGeom>
            <a:solidFill>
              <a:srgbClr val="103064"/>
            </a:solidFill>
          </p:spPr>
          <p:txBody>
            <a:bodyPr wrap="square" lIns="0" tIns="0" rIns="0" bIns="0" rtlCol="0"/>
            <a:lstStyle/>
            <a:p>
              <a:endParaRPr sz="2400"/>
            </a:p>
          </p:txBody>
        </p:sp>
        <p:sp>
          <p:nvSpPr>
            <p:cNvPr id="7" name="bk object 26"/>
            <p:cNvSpPr/>
            <p:nvPr userDrawn="1"/>
          </p:nvSpPr>
          <p:spPr>
            <a:xfrm>
              <a:off x="340051" y="-11827"/>
              <a:ext cx="863535" cy="170018"/>
            </a:xfrm>
            <a:custGeom>
              <a:avLst/>
              <a:gdLst/>
              <a:ahLst/>
              <a:cxnLst/>
              <a:rect l="l" t="t" r="r" b="b"/>
              <a:pathLst>
                <a:path w="1731010" h="1413510">
                  <a:moveTo>
                    <a:pt x="1730918" y="0"/>
                  </a:moveTo>
                  <a:lnTo>
                    <a:pt x="179633" y="0"/>
                  </a:lnTo>
                  <a:lnTo>
                    <a:pt x="0" y="1412925"/>
                  </a:lnTo>
                  <a:lnTo>
                    <a:pt x="1296345" y="1412925"/>
                  </a:lnTo>
                  <a:lnTo>
                    <a:pt x="1730918" y="0"/>
                  </a:lnTo>
                  <a:close/>
                </a:path>
              </a:pathLst>
            </a:custGeom>
            <a:solidFill>
              <a:srgbClr val="1D56B3"/>
            </a:solidFill>
          </p:spPr>
          <p:txBody>
            <a:bodyPr wrap="square" lIns="0" tIns="0" rIns="0" bIns="0" rtlCol="0"/>
            <a:lstStyle/>
            <a:p>
              <a:endParaRPr sz="2400"/>
            </a:p>
          </p:txBody>
        </p:sp>
        <p:sp>
          <p:nvSpPr>
            <p:cNvPr id="8" name="bk object 27"/>
            <p:cNvSpPr/>
            <p:nvPr userDrawn="1"/>
          </p:nvSpPr>
          <p:spPr>
            <a:xfrm>
              <a:off x="878274" y="-11827"/>
              <a:ext cx="1343452" cy="170018"/>
            </a:xfrm>
            <a:custGeom>
              <a:avLst/>
              <a:gdLst/>
              <a:ahLst/>
              <a:cxnLst/>
              <a:rect l="l" t="t" r="r" b="b"/>
              <a:pathLst>
                <a:path w="2693035" h="1413510">
                  <a:moveTo>
                    <a:pt x="2692774" y="0"/>
                  </a:moveTo>
                  <a:lnTo>
                    <a:pt x="435654" y="0"/>
                  </a:lnTo>
                  <a:lnTo>
                    <a:pt x="0" y="1412925"/>
                  </a:lnTo>
                  <a:lnTo>
                    <a:pt x="1878492" y="1412925"/>
                  </a:lnTo>
                  <a:lnTo>
                    <a:pt x="2692774" y="0"/>
                  </a:lnTo>
                  <a:close/>
                </a:path>
              </a:pathLst>
            </a:custGeom>
            <a:solidFill>
              <a:srgbClr val="103064"/>
            </a:solidFill>
          </p:spPr>
          <p:txBody>
            <a:bodyPr wrap="square" lIns="0" tIns="0" rIns="0" bIns="0" rtlCol="0"/>
            <a:lstStyle/>
            <a:p>
              <a:endParaRPr sz="2400"/>
            </a:p>
          </p:txBody>
        </p:sp>
        <p:sp>
          <p:nvSpPr>
            <p:cNvPr id="9" name="bk object 28"/>
            <p:cNvSpPr/>
            <p:nvPr userDrawn="1"/>
          </p:nvSpPr>
          <p:spPr>
            <a:xfrm>
              <a:off x="1654598" y="-11827"/>
              <a:ext cx="1362458" cy="170018"/>
            </a:xfrm>
            <a:custGeom>
              <a:avLst/>
              <a:gdLst/>
              <a:ahLst/>
              <a:cxnLst/>
              <a:rect l="l" t="t" r="r" b="b"/>
              <a:pathLst>
                <a:path w="2731134" h="1413510">
                  <a:moveTo>
                    <a:pt x="2730969" y="0"/>
                  </a:moveTo>
                  <a:lnTo>
                    <a:pt x="816445" y="0"/>
                  </a:lnTo>
                  <a:lnTo>
                    <a:pt x="0" y="1412925"/>
                  </a:lnTo>
                  <a:lnTo>
                    <a:pt x="1593978" y="1412925"/>
                  </a:lnTo>
                  <a:lnTo>
                    <a:pt x="2730969" y="0"/>
                  </a:lnTo>
                  <a:close/>
                </a:path>
              </a:pathLst>
            </a:custGeom>
            <a:solidFill>
              <a:srgbClr val="1E59B8"/>
            </a:solidFill>
          </p:spPr>
          <p:txBody>
            <a:bodyPr wrap="square" lIns="0" tIns="0" rIns="0" bIns="0" rtlCol="0"/>
            <a:lstStyle/>
            <a:p>
              <a:endParaRPr sz="2400"/>
            </a:p>
          </p:txBody>
        </p:sp>
        <p:sp>
          <p:nvSpPr>
            <p:cNvPr id="10" name="bk object 29"/>
            <p:cNvSpPr/>
            <p:nvPr userDrawn="1"/>
          </p:nvSpPr>
          <p:spPr>
            <a:xfrm>
              <a:off x="2304805" y="-11827"/>
              <a:ext cx="937659" cy="170018"/>
            </a:xfrm>
            <a:custGeom>
              <a:avLst/>
              <a:gdLst/>
              <a:ahLst/>
              <a:cxnLst/>
              <a:rect l="l" t="t" r="r" b="b"/>
              <a:pathLst>
                <a:path w="1879600" h="1413510">
                  <a:moveTo>
                    <a:pt x="1879368" y="0"/>
                  </a:moveTo>
                  <a:lnTo>
                    <a:pt x="1140221" y="0"/>
                  </a:lnTo>
                  <a:lnTo>
                    <a:pt x="0" y="1412925"/>
                  </a:lnTo>
                  <a:lnTo>
                    <a:pt x="621900" y="1412925"/>
                  </a:lnTo>
                  <a:lnTo>
                    <a:pt x="1879368" y="0"/>
                  </a:lnTo>
                  <a:close/>
                </a:path>
              </a:pathLst>
            </a:custGeom>
            <a:solidFill>
              <a:srgbClr val="17468F"/>
            </a:solidFill>
          </p:spPr>
          <p:txBody>
            <a:bodyPr wrap="square" lIns="0" tIns="0" rIns="0" bIns="0" rtlCol="0"/>
            <a:lstStyle/>
            <a:p>
              <a:endParaRPr sz="2400"/>
            </a:p>
          </p:txBody>
        </p:sp>
        <p:sp>
          <p:nvSpPr>
            <p:cNvPr id="11" name="bk object 30"/>
            <p:cNvSpPr/>
            <p:nvPr userDrawn="1"/>
          </p:nvSpPr>
          <p:spPr>
            <a:xfrm>
              <a:off x="2554809" y="-11827"/>
              <a:ext cx="2483849" cy="170018"/>
            </a:xfrm>
            <a:custGeom>
              <a:avLst/>
              <a:gdLst/>
              <a:ahLst/>
              <a:cxnLst/>
              <a:rect l="l" t="t" r="r" b="b"/>
              <a:pathLst>
                <a:path w="4979034" h="1413510">
                  <a:moveTo>
                    <a:pt x="4978576" y="0"/>
                  </a:moveTo>
                  <a:lnTo>
                    <a:pt x="1262846" y="0"/>
                  </a:lnTo>
                  <a:lnTo>
                    <a:pt x="0" y="1412925"/>
                  </a:lnTo>
                  <a:lnTo>
                    <a:pt x="3093828" y="1412925"/>
                  </a:lnTo>
                  <a:lnTo>
                    <a:pt x="4978576" y="0"/>
                  </a:lnTo>
                  <a:close/>
                </a:path>
              </a:pathLst>
            </a:custGeom>
            <a:solidFill>
              <a:srgbClr val="1E59B8"/>
            </a:solidFill>
          </p:spPr>
          <p:txBody>
            <a:bodyPr wrap="square" lIns="0" tIns="0" rIns="0" bIns="0" rtlCol="0"/>
            <a:lstStyle/>
            <a:p>
              <a:endParaRPr sz="2400"/>
            </a:p>
          </p:txBody>
        </p:sp>
        <p:sp>
          <p:nvSpPr>
            <p:cNvPr id="12" name="bk object 31"/>
            <p:cNvSpPr/>
            <p:nvPr userDrawn="1"/>
          </p:nvSpPr>
          <p:spPr>
            <a:xfrm>
              <a:off x="3835845" y="-11827"/>
              <a:ext cx="1915234" cy="170018"/>
            </a:xfrm>
            <a:custGeom>
              <a:avLst/>
              <a:gdLst/>
              <a:ahLst/>
              <a:cxnLst/>
              <a:rect l="l" t="t" r="r" b="b"/>
              <a:pathLst>
                <a:path w="3839209" h="1413510">
                  <a:moveTo>
                    <a:pt x="3838727" y="0"/>
                  </a:moveTo>
                  <a:lnTo>
                    <a:pt x="1891189" y="0"/>
                  </a:lnTo>
                  <a:lnTo>
                    <a:pt x="0" y="1412925"/>
                  </a:lnTo>
                  <a:lnTo>
                    <a:pt x="1625414" y="1412925"/>
                  </a:lnTo>
                  <a:lnTo>
                    <a:pt x="3838727" y="0"/>
                  </a:lnTo>
                  <a:close/>
                </a:path>
              </a:pathLst>
            </a:custGeom>
            <a:solidFill>
              <a:srgbClr val="536DB3"/>
            </a:solidFill>
          </p:spPr>
          <p:txBody>
            <a:bodyPr wrap="square" lIns="0" tIns="0" rIns="0" bIns="0" rtlCol="0"/>
            <a:lstStyle/>
            <a:p>
              <a:endParaRPr sz="2400"/>
            </a:p>
          </p:txBody>
        </p:sp>
        <p:sp>
          <p:nvSpPr>
            <p:cNvPr id="13" name="bk object 32"/>
            <p:cNvSpPr/>
            <p:nvPr userDrawn="1"/>
          </p:nvSpPr>
          <p:spPr>
            <a:xfrm>
              <a:off x="4458868" y="-11827"/>
              <a:ext cx="4685132" cy="170018"/>
            </a:xfrm>
            <a:custGeom>
              <a:avLst/>
              <a:gdLst/>
              <a:ahLst/>
              <a:cxnLst/>
              <a:rect l="l" t="t" r="r" b="b"/>
              <a:pathLst>
                <a:path w="9391650" h="1413510">
                  <a:moveTo>
                    <a:pt x="9391076" y="0"/>
                  </a:moveTo>
                  <a:lnTo>
                    <a:pt x="2213316" y="0"/>
                  </a:lnTo>
                  <a:lnTo>
                    <a:pt x="0" y="1412929"/>
                  </a:lnTo>
                  <a:lnTo>
                    <a:pt x="9391076" y="1412929"/>
                  </a:lnTo>
                  <a:lnTo>
                    <a:pt x="9391076" y="0"/>
                  </a:lnTo>
                  <a:close/>
                </a:path>
              </a:pathLst>
            </a:custGeom>
            <a:gradFill>
              <a:gsLst>
                <a:gs pos="0">
                  <a:srgbClr val="103064"/>
                </a:gs>
                <a:gs pos="100000">
                  <a:srgbClr val="17468F"/>
                </a:gs>
              </a:gsLst>
              <a:lin ang="0" scaled="0"/>
            </a:gradFill>
          </p:spPr>
          <p:txBody>
            <a:bodyPr wrap="square" lIns="0" tIns="0" rIns="0" bIns="0" rtlCol="0"/>
            <a:lstStyle/>
            <a:p>
              <a:endParaRPr sz="2400"/>
            </a:p>
          </p:txBody>
        </p:sp>
      </p:grpSp>
      <p:pic>
        <p:nvPicPr>
          <p:cNvPr id="16" name="Picture 15" descr="Logos of the U.S. Department of Health and Human Services and Centers for Disease Control and Prevention" title="LOGOS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435" y="5786588"/>
            <a:ext cx="1672779" cy="95900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08E3E0E-8007-4E08-9AE4-D29BCAE7C5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15" r="19754"/>
          <a:stretch/>
        </p:blipFill>
        <p:spPr>
          <a:xfrm>
            <a:off x="7112341" y="234188"/>
            <a:ext cx="4913032" cy="4634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1151792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40"/>
          <a:stretch/>
        </p:blipFill>
        <p:spPr>
          <a:xfrm>
            <a:off x="2608" y="5668739"/>
            <a:ext cx="12192000" cy="1177559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69625" y="3662433"/>
            <a:ext cx="885245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  <a:t>For more information, contact CDC</a:t>
            </a:r>
            <a:b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  <a:t>1-800-CDC-INFO (232-4636)</a:t>
            </a:r>
            <a:b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  <a:t>TTY:  1-888-232-6348    www.cdc.gov</a:t>
            </a:r>
            <a:b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  <a:t/>
            </a:r>
            <a:b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  <a:t/>
            </a:r>
            <a:b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600">
                <a:solidFill>
                  <a:srgbClr val="2D2D2D"/>
                </a:solidFill>
                <a:latin typeface="Calibri" panose="020F0502020204030204" pitchFamily="34" charset="0"/>
              </a:rPr>
              <a:t>The findings and conclusions in this report are those of the authors and do not necessarily represent the official position of the Centers for Disease Control and Prevention.</a:t>
            </a:r>
          </a:p>
        </p:txBody>
      </p:sp>
      <p:pic>
        <p:nvPicPr>
          <p:cNvPr id="4" name="Picture 3" descr="Logos of the U.S. Department of Health and Human Services and the Centers for Disease Control and Prevention." title="Logo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62473"/>
            <a:ext cx="12192000" cy="1183824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0" y="5662473"/>
            <a:ext cx="12192000" cy="1183824"/>
            <a:chOff x="0" y="-11827"/>
            <a:chExt cx="9144000" cy="170018"/>
          </a:xfrm>
        </p:grpSpPr>
        <p:sp>
          <p:nvSpPr>
            <p:cNvPr id="6" name="bk object 25"/>
            <p:cNvSpPr/>
            <p:nvPr userDrawn="1"/>
          </p:nvSpPr>
          <p:spPr>
            <a:xfrm>
              <a:off x="0" y="-11827"/>
              <a:ext cx="522365" cy="170018"/>
            </a:xfrm>
            <a:custGeom>
              <a:avLst/>
              <a:gdLst/>
              <a:ahLst/>
              <a:cxnLst/>
              <a:rect l="l" t="t" r="r" b="b"/>
              <a:pathLst>
                <a:path w="1047115" h="1413510">
                  <a:moveTo>
                    <a:pt x="1046875" y="0"/>
                  </a:moveTo>
                  <a:lnTo>
                    <a:pt x="0" y="0"/>
                  </a:lnTo>
                  <a:lnTo>
                    <a:pt x="0" y="1412925"/>
                  </a:lnTo>
                  <a:lnTo>
                    <a:pt x="869393" y="1412925"/>
                  </a:lnTo>
                  <a:lnTo>
                    <a:pt x="1046875" y="0"/>
                  </a:lnTo>
                  <a:close/>
                </a:path>
              </a:pathLst>
            </a:custGeom>
            <a:solidFill>
              <a:srgbClr val="103064"/>
            </a:solidFill>
          </p:spPr>
          <p:txBody>
            <a:bodyPr wrap="square" lIns="0" tIns="0" rIns="0" bIns="0" rtlCol="0"/>
            <a:lstStyle/>
            <a:p>
              <a:endParaRPr sz="2400"/>
            </a:p>
          </p:txBody>
        </p:sp>
        <p:sp>
          <p:nvSpPr>
            <p:cNvPr id="7" name="bk object 26"/>
            <p:cNvSpPr/>
            <p:nvPr userDrawn="1"/>
          </p:nvSpPr>
          <p:spPr>
            <a:xfrm>
              <a:off x="340051" y="-11827"/>
              <a:ext cx="863535" cy="170018"/>
            </a:xfrm>
            <a:custGeom>
              <a:avLst/>
              <a:gdLst/>
              <a:ahLst/>
              <a:cxnLst/>
              <a:rect l="l" t="t" r="r" b="b"/>
              <a:pathLst>
                <a:path w="1731010" h="1413510">
                  <a:moveTo>
                    <a:pt x="1730918" y="0"/>
                  </a:moveTo>
                  <a:lnTo>
                    <a:pt x="179633" y="0"/>
                  </a:lnTo>
                  <a:lnTo>
                    <a:pt x="0" y="1412925"/>
                  </a:lnTo>
                  <a:lnTo>
                    <a:pt x="1296345" y="1412925"/>
                  </a:lnTo>
                  <a:lnTo>
                    <a:pt x="1730918" y="0"/>
                  </a:lnTo>
                  <a:close/>
                </a:path>
              </a:pathLst>
            </a:custGeom>
            <a:solidFill>
              <a:srgbClr val="1D56B3"/>
            </a:solidFill>
          </p:spPr>
          <p:txBody>
            <a:bodyPr wrap="square" lIns="0" tIns="0" rIns="0" bIns="0" rtlCol="0"/>
            <a:lstStyle/>
            <a:p>
              <a:endParaRPr sz="2400"/>
            </a:p>
          </p:txBody>
        </p:sp>
        <p:sp>
          <p:nvSpPr>
            <p:cNvPr id="8" name="bk object 27"/>
            <p:cNvSpPr/>
            <p:nvPr userDrawn="1"/>
          </p:nvSpPr>
          <p:spPr>
            <a:xfrm>
              <a:off x="878274" y="-11827"/>
              <a:ext cx="1343452" cy="170018"/>
            </a:xfrm>
            <a:custGeom>
              <a:avLst/>
              <a:gdLst/>
              <a:ahLst/>
              <a:cxnLst/>
              <a:rect l="l" t="t" r="r" b="b"/>
              <a:pathLst>
                <a:path w="2693035" h="1413510">
                  <a:moveTo>
                    <a:pt x="2692774" y="0"/>
                  </a:moveTo>
                  <a:lnTo>
                    <a:pt x="435654" y="0"/>
                  </a:lnTo>
                  <a:lnTo>
                    <a:pt x="0" y="1412925"/>
                  </a:lnTo>
                  <a:lnTo>
                    <a:pt x="1878492" y="1412925"/>
                  </a:lnTo>
                  <a:lnTo>
                    <a:pt x="2692774" y="0"/>
                  </a:lnTo>
                  <a:close/>
                </a:path>
              </a:pathLst>
            </a:custGeom>
            <a:solidFill>
              <a:srgbClr val="103064"/>
            </a:solidFill>
          </p:spPr>
          <p:txBody>
            <a:bodyPr wrap="square" lIns="0" tIns="0" rIns="0" bIns="0" rtlCol="0"/>
            <a:lstStyle/>
            <a:p>
              <a:endParaRPr sz="2400"/>
            </a:p>
          </p:txBody>
        </p:sp>
        <p:sp>
          <p:nvSpPr>
            <p:cNvPr id="9" name="bk object 28"/>
            <p:cNvSpPr/>
            <p:nvPr userDrawn="1"/>
          </p:nvSpPr>
          <p:spPr>
            <a:xfrm>
              <a:off x="1654598" y="-11827"/>
              <a:ext cx="1362458" cy="170018"/>
            </a:xfrm>
            <a:custGeom>
              <a:avLst/>
              <a:gdLst/>
              <a:ahLst/>
              <a:cxnLst/>
              <a:rect l="l" t="t" r="r" b="b"/>
              <a:pathLst>
                <a:path w="2731134" h="1413510">
                  <a:moveTo>
                    <a:pt x="2730969" y="0"/>
                  </a:moveTo>
                  <a:lnTo>
                    <a:pt x="816445" y="0"/>
                  </a:lnTo>
                  <a:lnTo>
                    <a:pt x="0" y="1412925"/>
                  </a:lnTo>
                  <a:lnTo>
                    <a:pt x="1593978" y="1412925"/>
                  </a:lnTo>
                  <a:lnTo>
                    <a:pt x="2730969" y="0"/>
                  </a:lnTo>
                  <a:close/>
                </a:path>
              </a:pathLst>
            </a:custGeom>
            <a:solidFill>
              <a:srgbClr val="1E59B8"/>
            </a:solidFill>
          </p:spPr>
          <p:txBody>
            <a:bodyPr wrap="square" lIns="0" tIns="0" rIns="0" bIns="0" rtlCol="0"/>
            <a:lstStyle/>
            <a:p>
              <a:endParaRPr sz="2400"/>
            </a:p>
          </p:txBody>
        </p:sp>
        <p:sp>
          <p:nvSpPr>
            <p:cNvPr id="10" name="bk object 29"/>
            <p:cNvSpPr/>
            <p:nvPr userDrawn="1"/>
          </p:nvSpPr>
          <p:spPr>
            <a:xfrm>
              <a:off x="2304805" y="-11827"/>
              <a:ext cx="937659" cy="170018"/>
            </a:xfrm>
            <a:custGeom>
              <a:avLst/>
              <a:gdLst/>
              <a:ahLst/>
              <a:cxnLst/>
              <a:rect l="l" t="t" r="r" b="b"/>
              <a:pathLst>
                <a:path w="1879600" h="1413510">
                  <a:moveTo>
                    <a:pt x="1879368" y="0"/>
                  </a:moveTo>
                  <a:lnTo>
                    <a:pt x="1140221" y="0"/>
                  </a:lnTo>
                  <a:lnTo>
                    <a:pt x="0" y="1412925"/>
                  </a:lnTo>
                  <a:lnTo>
                    <a:pt x="621900" y="1412925"/>
                  </a:lnTo>
                  <a:lnTo>
                    <a:pt x="1879368" y="0"/>
                  </a:lnTo>
                  <a:close/>
                </a:path>
              </a:pathLst>
            </a:custGeom>
            <a:solidFill>
              <a:srgbClr val="17468F"/>
            </a:solidFill>
          </p:spPr>
          <p:txBody>
            <a:bodyPr wrap="square" lIns="0" tIns="0" rIns="0" bIns="0" rtlCol="0"/>
            <a:lstStyle/>
            <a:p>
              <a:endParaRPr sz="2400"/>
            </a:p>
          </p:txBody>
        </p:sp>
        <p:sp>
          <p:nvSpPr>
            <p:cNvPr id="11" name="bk object 30"/>
            <p:cNvSpPr/>
            <p:nvPr userDrawn="1"/>
          </p:nvSpPr>
          <p:spPr>
            <a:xfrm>
              <a:off x="2554809" y="-11827"/>
              <a:ext cx="2483849" cy="170018"/>
            </a:xfrm>
            <a:custGeom>
              <a:avLst/>
              <a:gdLst/>
              <a:ahLst/>
              <a:cxnLst/>
              <a:rect l="l" t="t" r="r" b="b"/>
              <a:pathLst>
                <a:path w="4979034" h="1413510">
                  <a:moveTo>
                    <a:pt x="4978576" y="0"/>
                  </a:moveTo>
                  <a:lnTo>
                    <a:pt x="1262846" y="0"/>
                  </a:lnTo>
                  <a:lnTo>
                    <a:pt x="0" y="1412925"/>
                  </a:lnTo>
                  <a:lnTo>
                    <a:pt x="3093828" y="1412925"/>
                  </a:lnTo>
                  <a:lnTo>
                    <a:pt x="4978576" y="0"/>
                  </a:lnTo>
                  <a:close/>
                </a:path>
              </a:pathLst>
            </a:custGeom>
            <a:solidFill>
              <a:srgbClr val="1E59B8"/>
            </a:solidFill>
          </p:spPr>
          <p:txBody>
            <a:bodyPr wrap="square" lIns="0" tIns="0" rIns="0" bIns="0" rtlCol="0"/>
            <a:lstStyle/>
            <a:p>
              <a:endParaRPr sz="2400"/>
            </a:p>
          </p:txBody>
        </p:sp>
        <p:sp>
          <p:nvSpPr>
            <p:cNvPr id="12" name="bk object 31"/>
            <p:cNvSpPr/>
            <p:nvPr userDrawn="1"/>
          </p:nvSpPr>
          <p:spPr>
            <a:xfrm>
              <a:off x="3835845" y="-11827"/>
              <a:ext cx="1915234" cy="170018"/>
            </a:xfrm>
            <a:custGeom>
              <a:avLst/>
              <a:gdLst/>
              <a:ahLst/>
              <a:cxnLst/>
              <a:rect l="l" t="t" r="r" b="b"/>
              <a:pathLst>
                <a:path w="3839209" h="1413510">
                  <a:moveTo>
                    <a:pt x="3838727" y="0"/>
                  </a:moveTo>
                  <a:lnTo>
                    <a:pt x="1891189" y="0"/>
                  </a:lnTo>
                  <a:lnTo>
                    <a:pt x="0" y="1412925"/>
                  </a:lnTo>
                  <a:lnTo>
                    <a:pt x="1625414" y="1412925"/>
                  </a:lnTo>
                  <a:lnTo>
                    <a:pt x="3838727" y="0"/>
                  </a:lnTo>
                  <a:close/>
                </a:path>
              </a:pathLst>
            </a:custGeom>
            <a:solidFill>
              <a:srgbClr val="536DB3"/>
            </a:solidFill>
          </p:spPr>
          <p:txBody>
            <a:bodyPr wrap="square" lIns="0" tIns="0" rIns="0" bIns="0" rtlCol="0"/>
            <a:lstStyle/>
            <a:p>
              <a:endParaRPr sz="2400"/>
            </a:p>
          </p:txBody>
        </p:sp>
        <p:sp>
          <p:nvSpPr>
            <p:cNvPr id="13" name="bk object 32"/>
            <p:cNvSpPr/>
            <p:nvPr userDrawn="1"/>
          </p:nvSpPr>
          <p:spPr>
            <a:xfrm>
              <a:off x="4458868" y="-11827"/>
              <a:ext cx="4685132" cy="170018"/>
            </a:xfrm>
            <a:custGeom>
              <a:avLst/>
              <a:gdLst/>
              <a:ahLst/>
              <a:cxnLst/>
              <a:rect l="l" t="t" r="r" b="b"/>
              <a:pathLst>
                <a:path w="9391650" h="1413510">
                  <a:moveTo>
                    <a:pt x="9391076" y="0"/>
                  </a:moveTo>
                  <a:lnTo>
                    <a:pt x="2213316" y="0"/>
                  </a:lnTo>
                  <a:lnTo>
                    <a:pt x="0" y="1412929"/>
                  </a:lnTo>
                  <a:lnTo>
                    <a:pt x="9391076" y="1412929"/>
                  </a:lnTo>
                  <a:lnTo>
                    <a:pt x="9391076" y="0"/>
                  </a:lnTo>
                  <a:close/>
                </a:path>
              </a:pathLst>
            </a:custGeom>
            <a:gradFill>
              <a:gsLst>
                <a:gs pos="0">
                  <a:srgbClr val="103064"/>
                </a:gs>
                <a:gs pos="100000">
                  <a:srgbClr val="17468F"/>
                </a:gs>
              </a:gsLst>
              <a:lin ang="0" scaled="0"/>
            </a:gradFill>
          </p:spPr>
          <p:txBody>
            <a:bodyPr wrap="square" lIns="0" tIns="0" rIns="0" bIns="0" rtlCol="0"/>
            <a:lstStyle/>
            <a:p>
              <a:endParaRPr sz="2400"/>
            </a:p>
          </p:txBody>
        </p:sp>
      </p:grpSp>
      <p:pic>
        <p:nvPicPr>
          <p:cNvPr id="16" name="Picture 15" descr="Logos of the U.S. Department of Health and Human Services and Centers for Disease Control and Prevention" title="LOGOS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435" y="5786588"/>
            <a:ext cx="1672779" cy="95900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2A43ECC-BBFF-4967-9F45-5667FFC0EE1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39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27838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ntent w Title, Bar,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521" y="274639"/>
            <a:ext cx="9571284" cy="114300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0039A6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7742" b="-5052"/>
          <a:stretch/>
        </p:blipFill>
        <p:spPr>
          <a:xfrm>
            <a:off x="-1" y="6684596"/>
            <a:ext cx="12192001" cy="248992"/>
          </a:xfrm>
          <a:prstGeom prst="rect">
            <a:avLst/>
          </a:prstGeom>
        </p:spPr>
      </p:pic>
      <p:sp>
        <p:nvSpPr>
          <p:cNvPr id="6" name="Line 6"/>
          <p:cNvSpPr>
            <a:spLocks noChangeShapeType="1"/>
          </p:cNvSpPr>
          <p:nvPr userDrawn="1"/>
        </p:nvSpPr>
        <p:spPr bwMode="auto">
          <a:xfrm>
            <a:off x="609600" y="1479311"/>
            <a:ext cx="10972800" cy="0"/>
          </a:xfrm>
          <a:prstGeom prst="line">
            <a:avLst/>
          </a:prstGeom>
          <a:noFill/>
          <a:ln w="25400">
            <a:solidFill>
              <a:srgbClr val="0039A6"/>
            </a:solidFill>
            <a:round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ln>
                <a:solidFill>
                  <a:srgbClr val="002060">
                    <a:lumMod val="50000"/>
                    <a:lumOff val="50000"/>
                  </a:srgbClr>
                </a:solidFill>
              </a:ln>
              <a:solidFill>
                <a:srgbClr val="0F56DC"/>
              </a:solidFill>
              <a:latin typeface="Arial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/>
          <a:srcRect l="10000" r="4917" b="-2800"/>
          <a:stretch/>
        </p:blipFill>
        <p:spPr>
          <a:xfrm>
            <a:off x="909320" y="6550354"/>
            <a:ext cx="10373360" cy="186509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11725206" y="6326493"/>
            <a:ext cx="466794" cy="3796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/>
            <a:fld id="{16C56A00-B67A-4726-B07D-3A7D659B2E50}" type="slidenum">
              <a:rPr lang="en-US" sz="1867" smtClean="0">
                <a:solidFill>
                  <a:srgbClr val="000000"/>
                </a:solidFill>
                <a:latin typeface="Calibri" panose="020F0502020204030204" pitchFamily="34" charset="0"/>
              </a:rPr>
              <a:pPr algn="r"/>
              <a:t>‹#›</a:t>
            </a:fld>
            <a:endParaRPr lang="en-US" sz="1867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D572417-480D-435D-97AE-A0029ADAF9A8}"/>
              </a:ext>
            </a:extLst>
          </p:cNvPr>
          <p:cNvSpPr txBox="1"/>
          <p:nvPr userDrawn="1"/>
        </p:nvSpPr>
        <p:spPr>
          <a:xfrm>
            <a:off x="618184" y="1"/>
            <a:ext cx="10972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en-US" sz="1200">
                <a:solidFill>
                  <a:prstClr val="black"/>
                </a:solidFill>
              </a:rPr>
              <a:t>COVID-19 IM Meeting Slide Submission Templat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ED0A24B-D62E-4FB3-AF80-330CA1B4E4F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10311386" y="124312"/>
            <a:ext cx="1758692" cy="987552"/>
          </a:xfrm>
          <a:prstGeom prst="rect">
            <a:avLst/>
          </a:prstGeom>
        </p:spPr>
      </p:pic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69B4A1E1-958B-453E-9FB2-17E3AF2C7EB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9600" y="1545166"/>
            <a:ext cx="10972800" cy="4943511"/>
          </a:xfrm>
        </p:spPr>
        <p:txBody>
          <a:bodyPr/>
          <a:lstStyle>
            <a:lvl1pPr marL="457189" indent="-457189">
              <a:spcBef>
                <a:spcPts val="0"/>
              </a:spcBef>
              <a:buClr>
                <a:srgbClr val="0039A6"/>
              </a:buClr>
              <a:buFont typeface="Wingdings" panose="05000000000000000000" pitchFamily="2" charset="2"/>
              <a:buChar char="§"/>
              <a:defRPr sz="2667">
                <a:solidFill>
                  <a:srgbClr val="000000"/>
                </a:solidFill>
              </a:defRPr>
            </a:lvl1pPr>
            <a:lvl2pPr marL="836063" indent="-380990">
              <a:spcBef>
                <a:spcPts val="0"/>
              </a:spcBef>
              <a:buClr>
                <a:srgbClr val="003CA5"/>
              </a:buClr>
              <a:defRPr sz="2400">
                <a:solidFill>
                  <a:srgbClr val="000000"/>
                </a:solidFill>
              </a:defRPr>
            </a:lvl2pPr>
            <a:lvl3pPr marL="1138738" indent="-304792">
              <a:spcBef>
                <a:spcPts val="0"/>
              </a:spcBef>
              <a:buClr>
                <a:srgbClr val="003CA5"/>
              </a:buClr>
              <a:defRPr sz="2133">
                <a:solidFill>
                  <a:srgbClr val="000000"/>
                </a:solidFill>
              </a:defRPr>
            </a:lvl3pPr>
            <a:lvl4pPr>
              <a:defRPr sz="2667">
                <a:solidFill>
                  <a:schemeClr val="accent4">
                    <a:lumMod val="75000"/>
                  </a:schemeClr>
                </a:solidFill>
              </a:defRPr>
            </a:lvl4pPr>
            <a:lvl5pPr>
              <a:defRPr sz="2667">
                <a:solidFill>
                  <a:schemeClr val="accent4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12433920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4ACD8893-7198-9DC8-ECD0-58A3C295AD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1" y="1105037"/>
            <a:ext cx="8571795" cy="1326091"/>
          </a:xfrm>
          <a:prstGeom prst="rect">
            <a:avLst/>
          </a:prstGeom>
        </p:spPr>
        <p:txBody>
          <a:bodyPr/>
          <a:lstStyle>
            <a:lvl1pPr>
              <a:defRPr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7C8735EB-6336-D816-4CE2-EF9FE3B411D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864" y="3205409"/>
            <a:ext cx="7255013" cy="965200"/>
          </a:xfrm>
          <a:prstGeom prst="rect">
            <a:avLst/>
          </a:prstGeom>
        </p:spPr>
        <p:txBody>
          <a:bodyPr/>
          <a:lstStyle>
            <a:lvl1pPr>
              <a:defRPr sz="2933" b="1" i="0" spc="40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4000">
                <a:latin typeface="Poppins" pitchFamily="2" charset="77"/>
                <a:cs typeface="Poppins" pitchFamily="2" charset="77"/>
              </a:defRPr>
            </a:lvl2pPr>
            <a:lvl3pPr>
              <a:defRPr sz="4000">
                <a:latin typeface="Poppins" pitchFamily="2" charset="77"/>
                <a:cs typeface="Poppins" pitchFamily="2" charset="77"/>
              </a:defRPr>
            </a:lvl3pPr>
            <a:lvl4pPr>
              <a:defRPr sz="4000">
                <a:latin typeface="Poppins" pitchFamily="2" charset="77"/>
                <a:cs typeface="Poppins" pitchFamily="2" charset="77"/>
              </a:defRPr>
            </a:lvl4pPr>
            <a:lvl5pPr>
              <a:defRPr sz="400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44FC6879-36DA-D757-04CF-D3B1AD282E7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0477" y="4944889"/>
            <a:ext cx="5994400" cy="1117600"/>
          </a:xfrm>
          <a:prstGeom prst="rect">
            <a:avLst/>
          </a:prstGeom>
        </p:spPr>
        <p:txBody>
          <a:bodyPr/>
          <a:lstStyle>
            <a:lvl1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2233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grpSp>
        <p:nvGrpSpPr>
          <p:cNvPr id="10" name="Group 3">
            <a:extLst>
              <a:ext uri="{FF2B5EF4-FFF2-40B4-BE49-F238E27FC236}">
                <a16:creationId xmlns:a16="http://schemas.microsoft.com/office/drawing/2014/main" id="{18F90C5E-926A-4DD0-C00C-83311F81680B}"/>
              </a:ext>
            </a:extLst>
          </p:cNvPr>
          <p:cNvGrpSpPr>
            <a:grpSpLocks noChangeAspect="1"/>
          </p:cNvGrpSpPr>
          <p:nvPr/>
        </p:nvGrpSpPr>
        <p:grpSpPr>
          <a:xfrm>
            <a:off x="6549803" y="4391408"/>
            <a:ext cx="2868130" cy="2466592"/>
            <a:chOff x="0" y="0"/>
            <a:chExt cx="6350000" cy="5461000"/>
          </a:xfrm>
        </p:grpSpPr>
        <p:sp>
          <p:nvSpPr>
            <p:cNvPr id="11" name="Freeform 4">
              <a:extLst>
                <a:ext uri="{FF2B5EF4-FFF2-40B4-BE49-F238E27FC236}">
                  <a16:creationId xmlns:a16="http://schemas.microsoft.com/office/drawing/2014/main" id="{547DD863-9C53-65BB-0157-2E278C1A45B2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2" name="Group 5">
            <a:extLst>
              <a:ext uri="{FF2B5EF4-FFF2-40B4-BE49-F238E27FC236}">
                <a16:creationId xmlns:a16="http://schemas.microsoft.com/office/drawing/2014/main" id="{0C846B09-705C-25BD-E50A-3C5B986D8715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1488199"/>
            <a:ext cx="2868130" cy="2466592"/>
            <a:chOff x="0" y="0"/>
            <a:chExt cx="6350000" cy="5461000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CDD4F5F-364D-8D04-0AC6-98F393532A89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4" name="Group 7">
            <a:extLst>
              <a:ext uri="{FF2B5EF4-FFF2-40B4-BE49-F238E27FC236}">
                <a16:creationId xmlns:a16="http://schemas.microsoft.com/office/drawing/2014/main" id="{51C88F50-F6D7-3566-F6E7-D03848818253}"/>
              </a:ext>
            </a:extLst>
          </p:cNvPr>
          <p:cNvGrpSpPr>
            <a:grpSpLocks noChangeAspect="1"/>
          </p:cNvGrpSpPr>
          <p:nvPr/>
        </p:nvGrpSpPr>
        <p:grpSpPr>
          <a:xfrm>
            <a:off x="9862326" y="-1346928"/>
            <a:ext cx="2868130" cy="2466592"/>
            <a:chOff x="0" y="0"/>
            <a:chExt cx="6350000" cy="5461000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928190E-2BFE-B21E-3019-1651EF69AB48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6" name="Group 9">
            <a:extLst>
              <a:ext uri="{FF2B5EF4-FFF2-40B4-BE49-F238E27FC236}">
                <a16:creationId xmlns:a16="http://schemas.microsoft.com/office/drawing/2014/main" id="{91D1A565-5ABE-DADC-7C9B-620587F5B8E0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4177606"/>
            <a:ext cx="2848259" cy="2466592"/>
            <a:chOff x="0" y="0"/>
            <a:chExt cx="6350000" cy="5499100"/>
          </a:xfrm>
        </p:grpSpPr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BCB19521-1D71-9BD2-5701-E6ED3667A42A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8" name="Group 11">
            <a:extLst>
              <a:ext uri="{FF2B5EF4-FFF2-40B4-BE49-F238E27FC236}">
                <a16:creationId xmlns:a16="http://schemas.microsoft.com/office/drawing/2014/main" id="{9DC1A1A6-7515-AA61-DDAB-F95B07DE895A}"/>
              </a:ext>
            </a:extLst>
          </p:cNvPr>
          <p:cNvGrpSpPr>
            <a:grpSpLocks noChangeAspect="1"/>
          </p:cNvGrpSpPr>
          <p:nvPr/>
        </p:nvGrpSpPr>
        <p:grpSpPr>
          <a:xfrm>
            <a:off x="9727755" y="1341914"/>
            <a:ext cx="2848259" cy="2466592"/>
            <a:chOff x="0" y="0"/>
            <a:chExt cx="6350000" cy="5499100"/>
          </a:xfrm>
        </p:grpSpPr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E538D081-22A0-FE41-968B-18510B2B40BF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0" name="Group 3">
            <a:extLst>
              <a:ext uri="{FF2B5EF4-FFF2-40B4-BE49-F238E27FC236}">
                <a16:creationId xmlns:a16="http://schemas.microsoft.com/office/drawing/2014/main" id="{94C248B8-711E-4F29-9A8B-91B97FDD8A3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549803" y="4391408"/>
            <a:ext cx="2868130" cy="2466592"/>
            <a:chOff x="0" y="0"/>
            <a:chExt cx="6350000" cy="5461000"/>
          </a:xfrm>
        </p:grpSpPr>
        <p:sp>
          <p:nvSpPr>
            <p:cNvPr id="21" name="Freeform 4">
              <a:extLst>
                <a:ext uri="{FF2B5EF4-FFF2-40B4-BE49-F238E27FC236}">
                  <a16:creationId xmlns:a16="http://schemas.microsoft.com/office/drawing/2014/main" id="{1475B4BF-E2F7-4FC8-9F28-82A77F1662E5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2" name="Group 5">
            <a:extLst>
              <a:ext uri="{FF2B5EF4-FFF2-40B4-BE49-F238E27FC236}">
                <a16:creationId xmlns:a16="http://schemas.microsoft.com/office/drawing/2014/main" id="{7CEEE077-9DDB-45C8-AB94-04FF2EAE110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18613" y="1488199"/>
            <a:ext cx="2868130" cy="2466592"/>
            <a:chOff x="0" y="0"/>
            <a:chExt cx="6350000" cy="5461000"/>
          </a:xfrm>
        </p:grpSpPr>
        <p:sp>
          <p:nvSpPr>
            <p:cNvPr id="23" name="Freeform 6">
              <a:extLst>
                <a:ext uri="{FF2B5EF4-FFF2-40B4-BE49-F238E27FC236}">
                  <a16:creationId xmlns:a16="http://schemas.microsoft.com/office/drawing/2014/main" id="{DA6F34F3-F16C-4D9E-8361-06E45EDD98B8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4" name="Group 7">
            <a:extLst>
              <a:ext uri="{FF2B5EF4-FFF2-40B4-BE49-F238E27FC236}">
                <a16:creationId xmlns:a16="http://schemas.microsoft.com/office/drawing/2014/main" id="{58AC57B2-A670-4601-8846-1A6E2F77905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862326" y="-1346928"/>
            <a:ext cx="2868130" cy="2466592"/>
            <a:chOff x="0" y="0"/>
            <a:chExt cx="6350000" cy="5461000"/>
          </a:xfrm>
        </p:grpSpPr>
        <p:sp>
          <p:nvSpPr>
            <p:cNvPr id="25" name="Freeform 8">
              <a:extLst>
                <a:ext uri="{FF2B5EF4-FFF2-40B4-BE49-F238E27FC236}">
                  <a16:creationId xmlns:a16="http://schemas.microsoft.com/office/drawing/2014/main" id="{10BE1777-38DB-490D-A90D-80EE574B5766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6" name="Group 9">
            <a:extLst>
              <a:ext uri="{FF2B5EF4-FFF2-40B4-BE49-F238E27FC236}">
                <a16:creationId xmlns:a16="http://schemas.microsoft.com/office/drawing/2014/main" id="{6B38BE04-9723-477F-AA5F-EDDEAB847D0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18613" y="4177606"/>
            <a:ext cx="2848259" cy="2466592"/>
            <a:chOff x="0" y="0"/>
            <a:chExt cx="6350000" cy="5499100"/>
          </a:xfrm>
        </p:grpSpPr>
        <p:sp>
          <p:nvSpPr>
            <p:cNvPr id="27" name="Freeform 10">
              <a:extLst>
                <a:ext uri="{FF2B5EF4-FFF2-40B4-BE49-F238E27FC236}">
                  <a16:creationId xmlns:a16="http://schemas.microsoft.com/office/drawing/2014/main" id="{ACA30BA3-DA3F-4063-9A8B-3AAC62C58E68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8" name="Group 11">
            <a:extLst>
              <a:ext uri="{FF2B5EF4-FFF2-40B4-BE49-F238E27FC236}">
                <a16:creationId xmlns:a16="http://schemas.microsoft.com/office/drawing/2014/main" id="{BF9FAA3E-9C54-432C-BC41-94E75DB4F9F7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27755" y="1341914"/>
            <a:ext cx="2848259" cy="2466592"/>
            <a:chOff x="0" y="0"/>
            <a:chExt cx="6350000" cy="5499100"/>
          </a:xfrm>
        </p:grpSpPr>
        <p:sp>
          <p:nvSpPr>
            <p:cNvPr id="29" name="Freeform 12">
              <a:extLst>
                <a:ext uri="{FF2B5EF4-FFF2-40B4-BE49-F238E27FC236}">
                  <a16:creationId xmlns:a16="http://schemas.microsoft.com/office/drawing/2014/main" id="{36FE175F-5D84-4F71-9C7B-B79F2CA31AC3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</p:spTree>
    <p:extLst>
      <p:ext uri="{BB962C8B-B14F-4D97-AF65-F5344CB8AC3E}">
        <p14:creationId xmlns:p14="http://schemas.microsoft.com/office/powerpoint/2010/main" val="316384646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>
            <a:extLst>
              <a:ext uri="{FF2B5EF4-FFF2-40B4-BE49-F238E27FC236}">
                <a16:creationId xmlns:a16="http://schemas.microsoft.com/office/drawing/2014/main" id="{4ACD8893-7198-9DC8-ECD0-58A3C295AD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865" y="602339"/>
            <a:ext cx="8571795" cy="1326091"/>
          </a:xfrm>
          <a:prstGeom prst="rect">
            <a:avLst/>
          </a:prstGeom>
        </p:spPr>
        <p:txBody>
          <a:bodyPr/>
          <a:lstStyle>
            <a:lvl1pPr>
              <a:defRPr sz="4400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fr-FR" err="1"/>
              <a:t>Title</a:t>
            </a:r>
            <a:r>
              <a:rPr lang="fr-FR"/>
              <a:t> </a:t>
            </a:r>
            <a:r>
              <a:rPr lang="fr-FR" err="1"/>
              <a:t>presentation</a:t>
            </a:r>
            <a:endParaRPr lang="fr-FR"/>
          </a:p>
        </p:txBody>
      </p:sp>
      <p:sp>
        <p:nvSpPr>
          <p:cNvPr id="7" name="Espace réservé du texte 6">
            <a:extLst>
              <a:ext uri="{FF2B5EF4-FFF2-40B4-BE49-F238E27FC236}">
                <a16:creationId xmlns:a16="http://schemas.microsoft.com/office/drawing/2014/main" id="{7C8735EB-6336-D816-4CE2-EF9FE3B411D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864" y="3205409"/>
            <a:ext cx="7255013" cy="965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 b="0" i="0" spc="40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4000">
                <a:latin typeface="Poppins" pitchFamily="2" charset="77"/>
                <a:cs typeface="Poppins" pitchFamily="2" charset="77"/>
              </a:defRPr>
            </a:lvl2pPr>
            <a:lvl3pPr>
              <a:defRPr sz="4000">
                <a:latin typeface="Poppins" pitchFamily="2" charset="77"/>
                <a:cs typeface="Poppins" pitchFamily="2" charset="77"/>
              </a:defRPr>
            </a:lvl3pPr>
            <a:lvl4pPr>
              <a:defRPr sz="4000">
                <a:latin typeface="Poppins" pitchFamily="2" charset="77"/>
                <a:cs typeface="Poppins" pitchFamily="2" charset="77"/>
              </a:defRPr>
            </a:lvl4pPr>
            <a:lvl5pPr>
              <a:defRPr sz="400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fr-FR"/>
              <a:t>Name</a:t>
            </a:r>
          </a:p>
          <a:p>
            <a:pPr lvl="0"/>
            <a:r>
              <a:rPr lang="fr-FR" b="0"/>
              <a:t>Position</a:t>
            </a:r>
            <a:endParaRPr lang="fr-FR"/>
          </a:p>
        </p:txBody>
      </p:sp>
      <p:grpSp>
        <p:nvGrpSpPr>
          <p:cNvPr id="10" name="Group 3">
            <a:extLst>
              <a:ext uri="{FF2B5EF4-FFF2-40B4-BE49-F238E27FC236}">
                <a16:creationId xmlns:a16="http://schemas.microsoft.com/office/drawing/2014/main" id="{18F90C5E-926A-4DD0-C00C-83311F81680B}"/>
              </a:ext>
            </a:extLst>
          </p:cNvPr>
          <p:cNvGrpSpPr>
            <a:grpSpLocks noChangeAspect="1"/>
          </p:cNvGrpSpPr>
          <p:nvPr/>
        </p:nvGrpSpPr>
        <p:grpSpPr>
          <a:xfrm>
            <a:off x="6549803" y="4391408"/>
            <a:ext cx="2868130" cy="2466592"/>
            <a:chOff x="0" y="0"/>
            <a:chExt cx="6350000" cy="5461000"/>
          </a:xfrm>
        </p:grpSpPr>
        <p:sp>
          <p:nvSpPr>
            <p:cNvPr id="11" name="Freeform 4">
              <a:extLst>
                <a:ext uri="{FF2B5EF4-FFF2-40B4-BE49-F238E27FC236}">
                  <a16:creationId xmlns:a16="http://schemas.microsoft.com/office/drawing/2014/main" id="{547DD863-9C53-65BB-0157-2E278C1A45B2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2" name="Group 5">
            <a:extLst>
              <a:ext uri="{FF2B5EF4-FFF2-40B4-BE49-F238E27FC236}">
                <a16:creationId xmlns:a16="http://schemas.microsoft.com/office/drawing/2014/main" id="{0C846B09-705C-25BD-E50A-3C5B986D8715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1488199"/>
            <a:ext cx="2868130" cy="2466592"/>
            <a:chOff x="0" y="0"/>
            <a:chExt cx="6350000" cy="5461000"/>
          </a:xfrm>
        </p:grpSpPr>
        <p:sp>
          <p:nvSpPr>
            <p:cNvPr id="13" name="Freeform 6">
              <a:extLst>
                <a:ext uri="{FF2B5EF4-FFF2-40B4-BE49-F238E27FC236}">
                  <a16:creationId xmlns:a16="http://schemas.microsoft.com/office/drawing/2014/main" id="{3CDD4F5F-364D-8D04-0AC6-98F393532A89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4" name="Group 7">
            <a:extLst>
              <a:ext uri="{FF2B5EF4-FFF2-40B4-BE49-F238E27FC236}">
                <a16:creationId xmlns:a16="http://schemas.microsoft.com/office/drawing/2014/main" id="{51C88F50-F6D7-3566-F6E7-D03848818253}"/>
              </a:ext>
            </a:extLst>
          </p:cNvPr>
          <p:cNvGrpSpPr>
            <a:grpSpLocks noChangeAspect="1"/>
          </p:cNvGrpSpPr>
          <p:nvPr/>
        </p:nvGrpSpPr>
        <p:grpSpPr>
          <a:xfrm>
            <a:off x="9862326" y="-1346928"/>
            <a:ext cx="2868130" cy="2466592"/>
            <a:chOff x="0" y="0"/>
            <a:chExt cx="6350000" cy="5461000"/>
          </a:xfrm>
        </p:grpSpPr>
        <p:sp>
          <p:nvSpPr>
            <p:cNvPr id="15" name="Freeform 8">
              <a:extLst>
                <a:ext uri="{FF2B5EF4-FFF2-40B4-BE49-F238E27FC236}">
                  <a16:creationId xmlns:a16="http://schemas.microsoft.com/office/drawing/2014/main" id="{6928190E-2BFE-B21E-3019-1651EF69AB48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6" name="Group 9">
            <a:extLst>
              <a:ext uri="{FF2B5EF4-FFF2-40B4-BE49-F238E27FC236}">
                <a16:creationId xmlns:a16="http://schemas.microsoft.com/office/drawing/2014/main" id="{91D1A565-5ABE-DADC-7C9B-620587F5B8E0}"/>
              </a:ext>
            </a:extLst>
          </p:cNvPr>
          <p:cNvGrpSpPr>
            <a:grpSpLocks noChangeAspect="1"/>
          </p:cNvGrpSpPr>
          <p:nvPr/>
        </p:nvGrpSpPr>
        <p:grpSpPr>
          <a:xfrm>
            <a:off x="8118613" y="4177606"/>
            <a:ext cx="2848259" cy="2466592"/>
            <a:chOff x="0" y="0"/>
            <a:chExt cx="6350000" cy="5499100"/>
          </a:xfrm>
        </p:grpSpPr>
        <p:sp>
          <p:nvSpPr>
            <p:cNvPr id="17" name="Freeform 10">
              <a:extLst>
                <a:ext uri="{FF2B5EF4-FFF2-40B4-BE49-F238E27FC236}">
                  <a16:creationId xmlns:a16="http://schemas.microsoft.com/office/drawing/2014/main" id="{BCB19521-1D71-9BD2-5701-E6ED3667A42A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8" name="Group 11">
            <a:extLst>
              <a:ext uri="{FF2B5EF4-FFF2-40B4-BE49-F238E27FC236}">
                <a16:creationId xmlns:a16="http://schemas.microsoft.com/office/drawing/2014/main" id="{9DC1A1A6-7515-AA61-DDAB-F95B07DE895A}"/>
              </a:ext>
            </a:extLst>
          </p:cNvPr>
          <p:cNvGrpSpPr>
            <a:grpSpLocks noChangeAspect="1"/>
          </p:cNvGrpSpPr>
          <p:nvPr/>
        </p:nvGrpSpPr>
        <p:grpSpPr>
          <a:xfrm>
            <a:off x="9727755" y="1341914"/>
            <a:ext cx="2848259" cy="2466592"/>
            <a:chOff x="0" y="0"/>
            <a:chExt cx="6350000" cy="5499100"/>
          </a:xfrm>
        </p:grpSpPr>
        <p:sp>
          <p:nvSpPr>
            <p:cNvPr id="19" name="Freeform 12">
              <a:extLst>
                <a:ext uri="{FF2B5EF4-FFF2-40B4-BE49-F238E27FC236}">
                  <a16:creationId xmlns:a16="http://schemas.microsoft.com/office/drawing/2014/main" id="{E538D081-22A0-FE41-968B-18510B2B40BF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20" name="ZoneTexte 19">
            <a:extLst>
              <a:ext uri="{FF2B5EF4-FFF2-40B4-BE49-F238E27FC236}">
                <a16:creationId xmlns:a16="http://schemas.microsoft.com/office/drawing/2014/main" id="{4D9FAD82-4700-EEBB-DF0C-B0FFF8521994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latin typeface="Poppins" pitchFamily="2" charset="77"/>
                <a:cs typeface="Poppins" pitchFamily="2" charset="77"/>
              </a:rPr>
              <a:t>Formation Complète</a:t>
            </a:r>
          </a:p>
        </p:txBody>
      </p:sp>
      <p:cxnSp>
        <p:nvCxnSpPr>
          <p:cNvPr id="21" name="Connecteur droit 20">
            <a:extLst>
              <a:ext uri="{FF2B5EF4-FFF2-40B4-BE49-F238E27FC236}">
                <a16:creationId xmlns:a16="http://schemas.microsoft.com/office/drawing/2014/main" id="{EA7B4556-380B-0066-B69B-4A5245ECFD45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Group 3">
            <a:extLst>
              <a:ext uri="{FF2B5EF4-FFF2-40B4-BE49-F238E27FC236}">
                <a16:creationId xmlns:a16="http://schemas.microsoft.com/office/drawing/2014/main" id="{631480AB-633D-4992-977B-677495F244EE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549803" y="4391408"/>
            <a:ext cx="2868130" cy="2466592"/>
            <a:chOff x="0" y="0"/>
            <a:chExt cx="6350000" cy="5461000"/>
          </a:xfrm>
        </p:grpSpPr>
        <p:sp>
          <p:nvSpPr>
            <p:cNvPr id="23" name="Freeform 4">
              <a:extLst>
                <a:ext uri="{FF2B5EF4-FFF2-40B4-BE49-F238E27FC236}">
                  <a16:creationId xmlns:a16="http://schemas.microsoft.com/office/drawing/2014/main" id="{67904455-72C0-496D-89AC-69D6E6B95742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4" name="Group 5">
            <a:extLst>
              <a:ext uri="{FF2B5EF4-FFF2-40B4-BE49-F238E27FC236}">
                <a16:creationId xmlns:a16="http://schemas.microsoft.com/office/drawing/2014/main" id="{CCE2CA93-5252-4ED1-951B-86DF55CE45C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18613" y="1488199"/>
            <a:ext cx="2868130" cy="2466592"/>
            <a:chOff x="0" y="0"/>
            <a:chExt cx="6350000" cy="5461000"/>
          </a:xfrm>
        </p:grpSpPr>
        <p:sp>
          <p:nvSpPr>
            <p:cNvPr id="25" name="Freeform 6">
              <a:extLst>
                <a:ext uri="{FF2B5EF4-FFF2-40B4-BE49-F238E27FC236}">
                  <a16:creationId xmlns:a16="http://schemas.microsoft.com/office/drawing/2014/main" id="{8F085AE8-C321-48EE-9B63-D6FFBD366AAB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6" name="Group 7">
            <a:extLst>
              <a:ext uri="{FF2B5EF4-FFF2-40B4-BE49-F238E27FC236}">
                <a16:creationId xmlns:a16="http://schemas.microsoft.com/office/drawing/2014/main" id="{EB97EC1A-9200-4D86-924F-31B86FE93FF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862326" y="-1346928"/>
            <a:ext cx="2868130" cy="2466592"/>
            <a:chOff x="0" y="0"/>
            <a:chExt cx="6350000" cy="5461000"/>
          </a:xfrm>
        </p:grpSpPr>
        <p:sp>
          <p:nvSpPr>
            <p:cNvPr id="27" name="Freeform 8">
              <a:extLst>
                <a:ext uri="{FF2B5EF4-FFF2-40B4-BE49-F238E27FC236}">
                  <a16:creationId xmlns:a16="http://schemas.microsoft.com/office/drawing/2014/main" id="{B813B0D9-0BC4-4B97-B5EC-653118AACC2E}"/>
                </a:ext>
              </a:extLst>
            </p:cNvPr>
            <p:cNvSpPr/>
            <p:nvPr/>
          </p:nvSpPr>
          <p:spPr>
            <a:xfrm>
              <a:off x="59563" y="32385"/>
              <a:ext cx="6230874" cy="5396230"/>
            </a:xfrm>
            <a:custGeom>
              <a:avLst/>
              <a:gdLst/>
              <a:ahLst/>
              <a:cxnLst/>
              <a:rect l="l" t="t" r="r" b="b"/>
              <a:pathLst>
                <a:path w="6230874" h="5396230">
                  <a:moveTo>
                    <a:pt x="3115437" y="0"/>
                  </a:moveTo>
                  <a:lnTo>
                    <a:pt x="0" y="5396230"/>
                  </a:lnTo>
                  <a:lnTo>
                    <a:pt x="6230874" y="539623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8" name="Group 9">
            <a:extLst>
              <a:ext uri="{FF2B5EF4-FFF2-40B4-BE49-F238E27FC236}">
                <a16:creationId xmlns:a16="http://schemas.microsoft.com/office/drawing/2014/main" id="{00E209D9-3E28-4177-88DC-16BA5FD355B3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118613" y="4177606"/>
            <a:ext cx="2848259" cy="2466592"/>
            <a:chOff x="0" y="0"/>
            <a:chExt cx="6350000" cy="5499100"/>
          </a:xfrm>
        </p:grpSpPr>
        <p:sp>
          <p:nvSpPr>
            <p:cNvPr id="29" name="Freeform 10">
              <a:extLst>
                <a:ext uri="{FF2B5EF4-FFF2-40B4-BE49-F238E27FC236}">
                  <a16:creationId xmlns:a16="http://schemas.microsoft.com/office/drawing/2014/main" id="{2E4842A0-8A83-49EC-8CA0-A0946FD8FACC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30" name="Group 11">
            <a:extLst>
              <a:ext uri="{FF2B5EF4-FFF2-40B4-BE49-F238E27FC236}">
                <a16:creationId xmlns:a16="http://schemas.microsoft.com/office/drawing/2014/main" id="{FE935023-6A54-40A8-9857-667B633B6F4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727755" y="1341914"/>
            <a:ext cx="2848259" cy="2466592"/>
            <a:chOff x="0" y="0"/>
            <a:chExt cx="6350000" cy="5499100"/>
          </a:xfrm>
        </p:grpSpPr>
        <p:sp>
          <p:nvSpPr>
            <p:cNvPr id="31" name="Freeform 12">
              <a:extLst>
                <a:ext uri="{FF2B5EF4-FFF2-40B4-BE49-F238E27FC236}">
                  <a16:creationId xmlns:a16="http://schemas.microsoft.com/office/drawing/2014/main" id="{CC45D424-BDF3-4EFF-BFAB-E13DFEBD873E}"/>
                </a:ext>
              </a:extLst>
            </p:cNvPr>
            <p:cNvSpPr/>
            <p:nvPr/>
          </p:nvSpPr>
          <p:spPr>
            <a:xfrm>
              <a:off x="0" y="0"/>
              <a:ext cx="6350000" cy="5499100"/>
            </a:xfrm>
            <a:custGeom>
              <a:avLst/>
              <a:gdLst/>
              <a:ahLst/>
              <a:cxnLst/>
              <a:rect l="l" t="t" r="r" b="b"/>
              <a:pathLst>
                <a:path w="6350000" h="5499100">
                  <a:moveTo>
                    <a:pt x="3175000" y="0"/>
                  </a:moveTo>
                  <a:lnTo>
                    <a:pt x="0" y="0"/>
                  </a:lnTo>
                  <a:lnTo>
                    <a:pt x="1587500" y="2749550"/>
                  </a:lnTo>
                  <a:lnTo>
                    <a:pt x="3175000" y="5499100"/>
                  </a:lnTo>
                  <a:lnTo>
                    <a:pt x="4762500" y="2749550"/>
                  </a:lnTo>
                  <a:lnTo>
                    <a:pt x="6350000" y="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cxnSp>
        <p:nvCxnSpPr>
          <p:cNvPr id="33" name="Connecteur droit 20">
            <a:extLst>
              <a:ext uri="{FF2B5EF4-FFF2-40B4-BE49-F238E27FC236}">
                <a16:creationId xmlns:a16="http://schemas.microsoft.com/office/drawing/2014/main" id="{78D820CE-393A-4203-963A-1934211CB23D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18629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4787EFD-E633-729D-1E35-6149E1667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AFD430C-9AAD-447B-22C6-F29FCA3A12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8000" y="1397002"/>
            <a:ext cx="10515600" cy="4780490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1pPr>
            <a:lvl2pPr marL="45722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2pPr>
            <a:lvl3pPr marL="762038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3pPr>
            <a:lvl4pPr marL="106685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4pPr>
            <a:lvl5pPr marL="1371669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5" name="Groupe 4">
            <a:extLst>
              <a:ext uri="{FF2B5EF4-FFF2-40B4-BE49-F238E27FC236}">
                <a16:creationId xmlns:a16="http://schemas.microsoft.com/office/drawing/2014/main" id="{9F8EBCD7-713D-B97F-5B2C-306011DBFE3E}"/>
              </a:ext>
            </a:extLst>
          </p:cNvPr>
          <p:cNvGrpSpPr/>
          <p:nvPr/>
        </p:nvGrpSpPr>
        <p:grpSpPr>
          <a:xfrm>
            <a:off x="10972801" y="4717197"/>
            <a:ext cx="1625599" cy="2185128"/>
            <a:chOff x="9824704" y="-2020392"/>
            <a:chExt cx="9270979" cy="12307392"/>
          </a:xfrm>
        </p:grpSpPr>
        <p:grpSp>
          <p:nvGrpSpPr>
            <p:cNvPr id="30" name="Group 3">
              <a:extLst>
                <a:ext uri="{FF2B5EF4-FFF2-40B4-BE49-F238E27FC236}">
                  <a16:creationId xmlns:a16="http://schemas.microsoft.com/office/drawing/2014/main" id="{25F460FF-3750-6AC9-FC05-BD2523B1BFA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31" name="Freeform 4">
                <a:extLst>
                  <a:ext uri="{FF2B5EF4-FFF2-40B4-BE49-F238E27FC236}">
                    <a16:creationId xmlns:a16="http://schemas.microsoft.com/office/drawing/2014/main" id="{B6030F0A-B6E1-FF59-D8E0-12F988278272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2" name="Group 5">
              <a:extLst>
                <a:ext uri="{FF2B5EF4-FFF2-40B4-BE49-F238E27FC236}">
                  <a16:creationId xmlns:a16="http://schemas.microsoft.com/office/drawing/2014/main" id="{78911277-E3B1-38B2-2414-2D89011E23E7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33" name="Freeform 6">
                <a:extLst>
                  <a:ext uri="{FF2B5EF4-FFF2-40B4-BE49-F238E27FC236}">
                    <a16:creationId xmlns:a16="http://schemas.microsoft.com/office/drawing/2014/main" id="{EFCF59DB-6C9A-31EA-22E7-6F45A4C6E353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4" name="Group 7">
              <a:extLst>
                <a:ext uri="{FF2B5EF4-FFF2-40B4-BE49-F238E27FC236}">
                  <a16:creationId xmlns:a16="http://schemas.microsoft.com/office/drawing/2014/main" id="{0235F194-A942-E43B-506F-9AD7A3D2EE6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35" name="Freeform 8">
                <a:extLst>
                  <a:ext uri="{FF2B5EF4-FFF2-40B4-BE49-F238E27FC236}">
                    <a16:creationId xmlns:a16="http://schemas.microsoft.com/office/drawing/2014/main" id="{7FC91801-A2F7-BAC7-E9B7-EAA49FB5E5D3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6" name="Group 9">
              <a:extLst>
                <a:ext uri="{FF2B5EF4-FFF2-40B4-BE49-F238E27FC236}">
                  <a16:creationId xmlns:a16="http://schemas.microsoft.com/office/drawing/2014/main" id="{53CFFC6C-62EB-D13A-B9CA-C9B50BAFF37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37" name="Freeform 10">
                <a:extLst>
                  <a:ext uri="{FF2B5EF4-FFF2-40B4-BE49-F238E27FC236}">
                    <a16:creationId xmlns:a16="http://schemas.microsoft.com/office/drawing/2014/main" id="{17C9B8C9-1FAA-D3EA-839E-FC3908DDF89A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8" name="Group 11">
              <a:extLst>
                <a:ext uri="{FF2B5EF4-FFF2-40B4-BE49-F238E27FC236}">
                  <a16:creationId xmlns:a16="http://schemas.microsoft.com/office/drawing/2014/main" id="{DC9A6B05-D900-8154-8E66-72CC7B9FC52A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39" name="Freeform 12">
                <a:extLst>
                  <a:ext uri="{FF2B5EF4-FFF2-40B4-BE49-F238E27FC236}">
                    <a16:creationId xmlns:a16="http://schemas.microsoft.com/office/drawing/2014/main" id="{B7C877FE-C100-B97D-3FCE-0083D10B6C6C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17" name="ZoneTexte 16">
            <a:extLst>
              <a:ext uri="{FF2B5EF4-FFF2-40B4-BE49-F238E27FC236}">
                <a16:creationId xmlns:a16="http://schemas.microsoft.com/office/drawing/2014/main" id="{8BB9FFE7-8D5E-8E6C-91D5-32524E698908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latin typeface="Poppins" pitchFamily="2" charset="77"/>
                <a:cs typeface="Poppins" pitchFamily="2" charset="77"/>
              </a:rPr>
              <a:t>Formation Complète</a:t>
            </a:r>
          </a:p>
        </p:txBody>
      </p:sp>
      <p:cxnSp>
        <p:nvCxnSpPr>
          <p:cNvPr id="18" name="Connecteur droit 17">
            <a:extLst>
              <a:ext uri="{FF2B5EF4-FFF2-40B4-BE49-F238E27FC236}">
                <a16:creationId xmlns:a16="http://schemas.microsoft.com/office/drawing/2014/main" id="{02E42F46-90F5-77E7-6496-B6BF20F94429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e 4">
            <a:extLst>
              <a:ext uri="{FF2B5EF4-FFF2-40B4-BE49-F238E27FC236}">
                <a16:creationId xmlns:a16="http://schemas.microsoft.com/office/drawing/2014/main" id="{0651BF2E-C837-4D28-80A8-56F66580F637}"/>
              </a:ext>
            </a:extLst>
          </p:cNvPr>
          <p:cNvGrpSpPr/>
          <p:nvPr userDrawn="1"/>
        </p:nvGrpSpPr>
        <p:grpSpPr>
          <a:xfrm>
            <a:off x="10972801" y="4717197"/>
            <a:ext cx="1625599" cy="2185128"/>
            <a:chOff x="9824704" y="-2020392"/>
            <a:chExt cx="9270979" cy="12307392"/>
          </a:xfrm>
        </p:grpSpPr>
        <p:grpSp>
          <p:nvGrpSpPr>
            <p:cNvPr id="20" name="Group 3">
              <a:extLst>
                <a:ext uri="{FF2B5EF4-FFF2-40B4-BE49-F238E27FC236}">
                  <a16:creationId xmlns:a16="http://schemas.microsoft.com/office/drawing/2014/main" id="{2CC24288-768F-4272-8149-08AE876EEA83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29" name="Freeform 4">
                <a:extLst>
                  <a:ext uri="{FF2B5EF4-FFF2-40B4-BE49-F238E27FC236}">
                    <a16:creationId xmlns:a16="http://schemas.microsoft.com/office/drawing/2014/main" id="{5232DE0F-5076-4204-896B-66847F63E153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1" name="Group 5">
              <a:extLst>
                <a:ext uri="{FF2B5EF4-FFF2-40B4-BE49-F238E27FC236}">
                  <a16:creationId xmlns:a16="http://schemas.microsoft.com/office/drawing/2014/main" id="{1B017339-6859-4971-A0FA-B6F94D739D57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28" name="Freeform 6">
                <a:extLst>
                  <a:ext uri="{FF2B5EF4-FFF2-40B4-BE49-F238E27FC236}">
                    <a16:creationId xmlns:a16="http://schemas.microsoft.com/office/drawing/2014/main" id="{77EEFBAE-7522-42C6-942B-46D059CEF8F3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2" name="Group 7">
              <a:extLst>
                <a:ext uri="{FF2B5EF4-FFF2-40B4-BE49-F238E27FC236}">
                  <a16:creationId xmlns:a16="http://schemas.microsoft.com/office/drawing/2014/main" id="{9FF4110B-DB6C-444D-AEAB-BF3290EDBF94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27" name="Freeform 8">
                <a:extLst>
                  <a:ext uri="{FF2B5EF4-FFF2-40B4-BE49-F238E27FC236}">
                    <a16:creationId xmlns:a16="http://schemas.microsoft.com/office/drawing/2014/main" id="{C9737E64-A356-48B6-8C02-CFE7E8D69CF6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3" name="Group 9">
              <a:extLst>
                <a:ext uri="{FF2B5EF4-FFF2-40B4-BE49-F238E27FC236}">
                  <a16:creationId xmlns:a16="http://schemas.microsoft.com/office/drawing/2014/main" id="{532EC4A6-55C1-49DC-BD4D-8DF521775AC4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id="{4F754CB6-5467-4544-9005-37D7B01C8B51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4" name="Group 11">
              <a:extLst>
                <a:ext uri="{FF2B5EF4-FFF2-40B4-BE49-F238E27FC236}">
                  <a16:creationId xmlns:a16="http://schemas.microsoft.com/office/drawing/2014/main" id="{F845D0E5-4CB7-4A85-98E2-BFC5946E32CC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25" name="Freeform 12">
                <a:extLst>
                  <a:ext uri="{FF2B5EF4-FFF2-40B4-BE49-F238E27FC236}">
                    <a16:creationId xmlns:a16="http://schemas.microsoft.com/office/drawing/2014/main" id="{7A234E7C-3491-416B-9564-48CB6B1E0438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cxnSp>
        <p:nvCxnSpPr>
          <p:cNvPr id="41" name="Connecteur droit 17">
            <a:extLst>
              <a:ext uri="{FF2B5EF4-FFF2-40B4-BE49-F238E27FC236}">
                <a16:creationId xmlns:a16="http://schemas.microsoft.com/office/drawing/2014/main" id="{F909C407-53FF-4DFC-99EB-3A8CBC353A9B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95380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 16">
            <a:extLst>
              <a:ext uri="{FF2B5EF4-FFF2-40B4-BE49-F238E27FC236}">
                <a16:creationId xmlns:a16="http://schemas.microsoft.com/office/drawing/2014/main" id="{1CAF00C5-F7DA-4755-E96D-64A96C08B39E}"/>
              </a:ext>
            </a:extLst>
          </p:cNvPr>
          <p:cNvGrpSpPr/>
          <p:nvPr/>
        </p:nvGrpSpPr>
        <p:grpSpPr>
          <a:xfrm rot="3608892">
            <a:off x="4170740" y="6087713"/>
            <a:ext cx="717435" cy="968494"/>
            <a:chOff x="9824704" y="-2020392"/>
            <a:chExt cx="9270979" cy="12307392"/>
          </a:xfrm>
        </p:grpSpPr>
        <p:grpSp>
          <p:nvGrpSpPr>
            <p:cNvPr id="18" name="Group 3">
              <a:extLst>
                <a:ext uri="{FF2B5EF4-FFF2-40B4-BE49-F238E27FC236}">
                  <a16:creationId xmlns:a16="http://schemas.microsoft.com/office/drawing/2014/main" id="{D44535E7-C4DC-78DB-A7A8-6270D639D59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27" name="Freeform 4">
                <a:extLst>
                  <a:ext uri="{FF2B5EF4-FFF2-40B4-BE49-F238E27FC236}">
                    <a16:creationId xmlns:a16="http://schemas.microsoft.com/office/drawing/2014/main" id="{A37C8411-6E3C-DB79-4F3B-86873DF6054D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19" name="Group 5">
              <a:extLst>
                <a:ext uri="{FF2B5EF4-FFF2-40B4-BE49-F238E27FC236}">
                  <a16:creationId xmlns:a16="http://schemas.microsoft.com/office/drawing/2014/main" id="{B0CB359F-A173-B531-357E-06D398B7AB1C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26" name="Freeform 6">
                <a:extLst>
                  <a:ext uri="{FF2B5EF4-FFF2-40B4-BE49-F238E27FC236}">
                    <a16:creationId xmlns:a16="http://schemas.microsoft.com/office/drawing/2014/main" id="{D3A751FA-5239-5689-E97A-22A3E01E4232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0" name="Group 7">
              <a:extLst>
                <a:ext uri="{FF2B5EF4-FFF2-40B4-BE49-F238E27FC236}">
                  <a16:creationId xmlns:a16="http://schemas.microsoft.com/office/drawing/2014/main" id="{B4AD2B37-84FA-623C-764F-410A0D79FD0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25" name="Freeform 8">
                <a:extLst>
                  <a:ext uri="{FF2B5EF4-FFF2-40B4-BE49-F238E27FC236}">
                    <a16:creationId xmlns:a16="http://schemas.microsoft.com/office/drawing/2014/main" id="{1664A612-F7DB-74A1-5454-42692D5B2B28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1" name="Group 9">
              <a:extLst>
                <a:ext uri="{FF2B5EF4-FFF2-40B4-BE49-F238E27FC236}">
                  <a16:creationId xmlns:a16="http://schemas.microsoft.com/office/drawing/2014/main" id="{F9A50F3A-CC65-9428-CA94-85FC043A5A0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24" name="Freeform 10">
                <a:extLst>
                  <a:ext uri="{FF2B5EF4-FFF2-40B4-BE49-F238E27FC236}">
                    <a16:creationId xmlns:a16="http://schemas.microsoft.com/office/drawing/2014/main" id="{B8460C0A-E74C-758D-A48E-B995FA25B9A2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2" name="Group 11">
              <a:extLst>
                <a:ext uri="{FF2B5EF4-FFF2-40B4-BE49-F238E27FC236}">
                  <a16:creationId xmlns:a16="http://schemas.microsoft.com/office/drawing/2014/main" id="{D6838A77-76A0-D0FF-5F1A-4E295F1F4E66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23" name="Freeform 12">
                <a:extLst>
                  <a:ext uri="{FF2B5EF4-FFF2-40B4-BE49-F238E27FC236}">
                    <a16:creationId xmlns:a16="http://schemas.microsoft.com/office/drawing/2014/main" id="{1A8BC44C-8E16-7A0F-96B8-1BDFC0A0A7B1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28" name="ZoneTexte 27">
            <a:extLst>
              <a:ext uri="{FF2B5EF4-FFF2-40B4-BE49-F238E27FC236}">
                <a16:creationId xmlns:a16="http://schemas.microsoft.com/office/drawing/2014/main" id="{61B6D1A2-E21B-8081-F592-001617AE51D2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latin typeface="Poppins" pitchFamily="2" charset="77"/>
                <a:cs typeface="Poppins" pitchFamily="2" charset="77"/>
              </a:rPr>
              <a:t>Formation Complète</a:t>
            </a:r>
          </a:p>
        </p:txBody>
      </p:sp>
      <p:cxnSp>
        <p:nvCxnSpPr>
          <p:cNvPr id="29" name="Connecteur droit 28">
            <a:extLst>
              <a:ext uri="{FF2B5EF4-FFF2-40B4-BE49-F238E27FC236}">
                <a16:creationId xmlns:a16="http://schemas.microsoft.com/office/drawing/2014/main" id="{6256D9B0-C816-675E-C239-53EFB72DE25A}"/>
              </a:ext>
            </a:extLst>
          </p:cNvPr>
          <p:cNvCxnSpPr>
            <a:cxnSpLocks/>
          </p:cNvCxnSpPr>
          <p:nvPr/>
        </p:nvCxnSpPr>
        <p:spPr>
          <a:xfrm>
            <a:off x="-50800" y="6492874"/>
            <a:ext cx="508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re 1">
            <a:extLst>
              <a:ext uri="{FF2B5EF4-FFF2-40B4-BE49-F238E27FC236}">
                <a16:creationId xmlns:a16="http://schemas.microsoft.com/office/drawing/2014/main" id="{E25F335D-C4FF-B8A9-66BE-917BC7B4001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1" name="Espace réservé du contenu 2">
            <a:extLst>
              <a:ext uri="{FF2B5EF4-FFF2-40B4-BE49-F238E27FC236}">
                <a16:creationId xmlns:a16="http://schemas.microsoft.com/office/drawing/2014/main" id="{4EAFE968-A7A1-B80F-4139-D9795C9CC13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8000" y="1397002"/>
            <a:ext cx="10515600" cy="4780490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1pPr>
            <a:lvl2pPr marL="45722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2pPr>
            <a:lvl3pPr marL="762038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3pPr>
            <a:lvl4pPr marL="106685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4pPr>
            <a:lvl5pPr marL="1371669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32" name="Groupe 16">
            <a:extLst>
              <a:ext uri="{FF2B5EF4-FFF2-40B4-BE49-F238E27FC236}">
                <a16:creationId xmlns:a16="http://schemas.microsoft.com/office/drawing/2014/main" id="{DDBC99AD-1995-4E74-8F75-4E68C6F6D040}"/>
              </a:ext>
            </a:extLst>
          </p:cNvPr>
          <p:cNvGrpSpPr/>
          <p:nvPr userDrawn="1"/>
        </p:nvGrpSpPr>
        <p:grpSpPr>
          <a:xfrm rot="3608892">
            <a:off x="4170740" y="6087713"/>
            <a:ext cx="717435" cy="968494"/>
            <a:chOff x="9824704" y="-2020392"/>
            <a:chExt cx="9270979" cy="12307392"/>
          </a:xfrm>
        </p:grpSpPr>
        <p:grpSp>
          <p:nvGrpSpPr>
            <p:cNvPr id="33" name="Group 3">
              <a:extLst>
                <a:ext uri="{FF2B5EF4-FFF2-40B4-BE49-F238E27FC236}">
                  <a16:creationId xmlns:a16="http://schemas.microsoft.com/office/drawing/2014/main" id="{363C9901-FFE8-4F33-871F-3DCD1D0F0DCB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42" name="Freeform 4">
                <a:extLst>
                  <a:ext uri="{FF2B5EF4-FFF2-40B4-BE49-F238E27FC236}">
                    <a16:creationId xmlns:a16="http://schemas.microsoft.com/office/drawing/2014/main" id="{2EED5908-04FC-4DF3-86F3-0645B7BB9C52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4" name="Group 5">
              <a:extLst>
                <a:ext uri="{FF2B5EF4-FFF2-40B4-BE49-F238E27FC236}">
                  <a16:creationId xmlns:a16="http://schemas.microsoft.com/office/drawing/2014/main" id="{9088C53D-33FA-4CDF-A1E1-FF1F9B05D8B5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41" name="Freeform 6">
                <a:extLst>
                  <a:ext uri="{FF2B5EF4-FFF2-40B4-BE49-F238E27FC236}">
                    <a16:creationId xmlns:a16="http://schemas.microsoft.com/office/drawing/2014/main" id="{C490EA88-CEE7-4F6B-8C2E-69056F473FC7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5" name="Group 7">
              <a:extLst>
                <a:ext uri="{FF2B5EF4-FFF2-40B4-BE49-F238E27FC236}">
                  <a16:creationId xmlns:a16="http://schemas.microsoft.com/office/drawing/2014/main" id="{4F55C277-8891-4896-B2E0-9C6F71D8B06B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40" name="Freeform 8">
                <a:extLst>
                  <a:ext uri="{FF2B5EF4-FFF2-40B4-BE49-F238E27FC236}">
                    <a16:creationId xmlns:a16="http://schemas.microsoft.com/office/drawing/2014/main" id="{3EEC9A30-442E-41DC-B52F-DB85259E08F9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6" name="Group 9">
              <a:extLst>
                <a:ext uri="{FF2B5EF4-FFF2-40B4-BE49-F238E27FC236}">
                  <a16:creationId xmlns:a16="http://schemas.microsoft.com/office/drawing/2014/main" id="{1B1BB4CF-10DF-4F1B-B3A8-D80F85C896E9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39" name="Freeform 10">
                <a:extLst>
                  <a:ext uri="{FF2B5EF4-FFF2-40B4-BE49-F238E27FC236}">
                    <a16:creationId xmlns:a16="http://schemas.microsoft.com/office/drawing/2014/main" id="{5C9D3D97-0115-4D83-AD65-64C36F4602D1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7" name="Group 11">
              <a:extLst>
                <a:ext uri="{FF2B5EF4-FFF2-40B4-BE49-F238E27FC236}">
                  <a16:creationId xmlns:a16="http://schemas.microsoft.com/office/drawing/2014/main" id="{F9963F0B-FBCC-421A-9DCD-BA659BB153F4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38" name="Freeform 12">
                <a:extLst>
                  <a:ext uri="{FF2B5EF4-FFF2-40B4-BE49-F238E27FC236}">
                    <a16:creationId xmlns:a16="http://schemas.microsoft.com/office/drawing/2014/main" id="{C27AE71D-5A27-4435-9B56-6986F0666225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cxnSp>
        <p:nvCxnSpPr>
          <p:cNvPr id="44" name="Connecteur droit 28">
            <a:extLst>
              <a:ext uri="{FF2B5EF4-FFF2-40B4-BE49-F238E27FC236}">
                <a16:creationId xmlns:a16="http://schemas.microsoft.com/office/drawing/2014/main" id="{7F4E0EC0-65E9-4F4E-BA1F-2DEB0067D951}"/>
              </a:ext>
            </a:extLst>
          </p:cNvPr>
          <p:cNvCxnSpPr>
            <a:cxnSpLocks/>
          </p:cNvCxnSpPr>
          <p:nvPr userDrawn="1"/>
        </p:nvCxnSpPr>
        <p:spPr>
          <a:xfrm>
            <a:off x="-50800" y="6492874"/>
            <a:ext cx="50800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682007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1F5196DB-ADD8-8377-22BF-115D9D266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7999" y="365126"/>
            <a:ext cx="8572499" cy="473075"/>
          </a:xfrm>
          <a:prstGeom prst="rect">
            <a:avLst/>
          </a:prstGeom>
        </p:spPr>
        <p:txBody>
          <a:bodyPr/>
          <a:lstStyle>
            <a:lvl1pPr>
              <a:defRPr sz="2400" b="1" i="0">
                <a:latin typeface="Poppins ExtraBold" pitchFamily="2" charset="77"/>
                <a:cs typeface="Poppins ExtraBold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BF57EDF-BD9B-6D87-79CC-648270B2544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47999" y="991513"/>
            <a:ext cx="8572500" cy="689286"/>
          </a:xfrm>
          <a:prstGeom prst="rect">
            <a:avLst/>
          </a:prstGeom>
        </p:spPr>
        <p:txBody>
          <a:bodyPr/>
          <a:lstStyle>
            <a:lvl1pPr algn="ctr">
              <a:defRPr sz="2133" b="0" i="0">
                <a:latin typeface="Poppins Light" pitchFamily="2" charset="77"/>
                <a:cs typeface="Poppins Light" pitchFamily="2" charset="77"/>
              </a:defRPr>
            </a:lvl1pPr>
            <a:lvl2pPr algn="ctr">
              <a:defRPr sz="2133" b="0" i="0">
                <a:latin typeface="Poppins Light" pitchFamily="2" charset="77"/>
                <a:cs typeface="Poppins Light" pitchFamily="2" charset="77"/>
              </a:defRPr>
            </a:lvl2pPr>
            <a:lvl3pPr algn="ctr">
              <a:defRPr sz="2133" b="0" i="0">
                <a:latin typeface="Poppins Light" pitchFamily="2" charset="77"/>
                <a:cs typeface="Poppins Light" pitchFamily="2" charset="77"/>
              </a:defRPr>
            </a:lvl3pPr>
            <a:lvl4pPr algn="ctr">
              <a:defRPr sz="2133" b="0" i="0">
                <a:latin typeface="Poppins Light" pitchFamily="2" charset="77"/>
                <a:cs typeface="Poppins Light" pitchFamily="2" charset="77"/>
              </a:defRPr>
            </a:lvl4pPr>
            <a:lvl5pPr algn="ctr">
              <a:defRPr sz="2133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7" name="Group 2">
            <a:extLst>
              <a:ext uri="{FF2B5EF4-FFF2-40B4-BE49-F238E27FC236}">
                <a16:creationId xmlns:a16="http://schemas.microsoft.com/office/drawing/2014/main" id="{84DF5FD3-368A-EF89-8149-3F8DC30E8ED5}"/>
              </a:ext>
            </a:extLst>
          </p:cNvPr>
          <p:cNvGrpSpPr>
            <a:grpSpLocks noChangeAspect="1"/>
          </p:cNvGrpSpPr>
          <p:nvPr/>
        </p:nvGrpSpPr>
        <p:grpSpPr>
          <a:xfrm>
            <a:off x="36827" y="3936476"/>
            <a:ext cx="1512035" cy="1309354"/>
            <a:chOff x="0" y="0"/>
            <a:chExt cx="4282440" cy="3708400"/>
          </a:xfrm>
        </p:grpSpPr>
        <p:sp>
          <p:nvSpPr>
            <p:cNvPr id="8" name="Freeform 3">
              <a:extLst>
                <a:ext uri="{FF2B5EF4-FFF2-40B4-BE49-F238E27FC236}">
                  <a16:creationId xmlns:a16="http://schemas.microsoft.com/office/drawing/2014/main" id="{207A5AE6-C703-B397-653C-DE3EF72325A6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9" name="Group 4">
            <a:extLst>
              <a:ext uri="{FF2B5EF4-FFF2-40B4-BE49-F238E27FC236}">
                <a16:creationId xmlns:a16="http://schemas.microsoft.com/office/drawing/2014/main" id="{A853F251-BFD7-6E3B-4AC4-69C2BAE5066C}"/>
              </a:ext>
            </a:extLst>
          </p:cNvPr>
          <p:cNvGrpSpPr>
            <a:grpSpLocks noChangeAspect="1"/>
          </p:cNvGrpSpPr>
          <p:nvPr/>
        </p:nvGrpSpPr>
        <p:grpSpPr>
          <a:xfrm>
            <a:off x="1295744" y="3234476"/>
            <a:ext cx="1512035" cy="1309354"/>
            <a:chOff x="0" y="0"/>
            <a:chExt cx="4282440" cy="3708400"/>
          </a:xfrm>
        </p:grpSpPr>
        <p:sp>
          <p:nvSpPr>
            <p:cNvPr id="10" name="Freeform 5">
              <a:extLst>
                <a:ext uri="{FF2B5EF4-FFF2-40B4-BE49-F238E27FC236}">
                  <a16:creationId xmlns:a16="http://schemas.microsoft.com/office/drawing/2014/main" id="{FB8B3F4F-C0F7-35DA-FF67-8BA5C47ABA23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1" name="Group 6">
            <a:extLst>
              <a:ext uri="{FF2B5EF4-FFF2-40B4-BE49-F238E27FC236}">
                <a16:creationId xmlns:a16="http://schemas.microsoft.com/office/drawing/2014/main" id="{86531AB7-3B7A-B165-5F15-DB9550187643}"/>
              </a:ext>
            </a:extLst>
          </p:cNvPr>
          <p:cNvGrpSpPr>
            <a:grpSpLocks noChangeAspect="1"/>
          </p:cNvGrpSpPr>
          <p:nvPr/>
        </p:nvGrpSpPr>
        <p:grpSpPr>
          <a:xfrm>
            <a:off x="1295744" y="4688703"/>
            <a:ext cx="1512035" cy="1309354"/>
            <a:chOff x="0" y="0"/>
            <a:chExt cx="4282440" cy="3708400"/>
          </a:xfrm>
        </p:grpSpPr>
        <p:sp>
          <p:nvSpPr>
            <p:cNvPr id="12" name="Freeform 7">
              <a:extLst>
                <a:ext uri="{FF2B5EF4-FFF2-40B4-BE49-F238E27FC236}">
                  <a16:creationId xmlns:a16="http://schemas.microsoft.com/office/drawing/2014/main" id="{D7F4A836-03D3-0478-993C-89ABCD789556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3" name="Group 8">
            <a:extLst>
              <a:ext uri="{FF2B5EF4-FFF2-40B4-BE49-F238E27FC236}">
                <a16:creationId xmlns:a16="http://schemas.microsoft.com/office/drawing/2014/main" id="{56C60DFD-8387-7A95-BB2D-514C050483D0}"/>
              </a:ext>
            </a:extLst>
          </p:cNvPr>
          <p:cNvGrpSpPr>
            <a:grpSpLocks noChangeAspect="1"/>
          </p:cNvGrpSpPr>
          <p:nvPr/>
        </p:nvGrpSpPr>
        <p:grpSpPr>
          <a:xfrm>
            <a:off x="1" y="5369502"/>
            <a:ext cx="1512035" cy="1309354"/>
            <a:chOff x="0" y="0"/>
            <a:chExt cx="4282440" cy="3708400"/>
          </a:xfrm>
        </p:grpSpPr>
        <p:sp>
          <p:nvSpPr>
            <p:cNvPr id="14" name="Freeform 9">
              <a:extLst>
                <a:ext uri="{FF2B5EF4-FFF2-40B4-BE49-F238E27FC236}">
                  <a16:creationId xmlns:a16="http://schemas.microsoft.com/office/drawing/2014/main" id="{C5983990-1CB7-7E54-7DA1-6FDE8AB0D929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5" name="Group 10">
            <a:extLst>
              <a:ext uri="{FF2B5EF4-FFF2-40B4-BE49-F238E27FC236}">
                <a16:creationId xmlns:a16="http://schemas.microsoft.com/office/drawing/2014/main" id="{8BE35399-D3C5-0957-DBA2-9D71AE382BE6}"/>
              </a:ext>
            </a:extLst>
          </p:cNvPr>
          <p:cNvGrpSpPr>
            <a:grpSpLocks noChangeAspect="1"/>
          </p:cNvGrpSpPr>
          <p:nvPr/>
        </p:nvGrpSpPr>
        <p:grpSpPr>
          <a:xfrm>
            <a:off x="73654" y="1073445"/>
            <a:ext cx="1512035" cy="1309354"/>
            <a:chOff x="0" y="0"/>
            <a:chExt cx="4282440" cy="3708400"/>
          </a:xfrm>
        </p:grpSpPr>
        <p:sp>
          <p:nvSpPr>
            <p:cNvPr id="16" name="Freeform 11">
              <a:extLst>
                <a:ext uri="{FF2B5EF4-FFF2-40B4-BE49-F238E27FC236}">
                  <a16:creationId xmlns:a16="http://schemas.microsoft.com/office/drawing/2014/main" id="{4DFA1151-F81E-CAB0-3902-18EBA90CB0E1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7" name="Group 12">
            <a:extLst>
              <a:ext uri="{FF2B5EF4-FFF2-40B4-BE49-F238E27FC236}">
                <a16:creationId xmlns:a16="http://schemas.microsoft.com/office/drawing/2014/main" id="{8B5B18D7-A00B-0944-F9C9-165806E8EB29}"/>
              </a:ext>
            </a:extLst>
          </p:cNvPr>
          <p:cNvGrpSpPr>
            <a:grpSpLocks noChangeAspect="1"/>
          </p:cNvGrpSpPr>
          <p:nvPr/>
        </p:nvGrpSpPr>
        <p:grpSpPr>
          <a:xfrm>
            <a:off x="1332571" y="371445"/>
            <a:ext cx="1512035" cy="1309354"/>
            <a:chOff x="0" y="0"/>
            <a:chExt cx="4282440" cy="3708400"/>
          </a:xfrm>
        </p:grpSpPr>
        <p:sp>
          <p:nvSpPr>
            <p:cNvPr id="18" name="Freeform 13">
              <a:extLst>
                <a:ext uri="{FF2B5EF4-FFF2-40B4-BE49-F238E27FC236}">
                  <a16:creationId xmlns:a16="http://schemas.microsoft.com/office/drawing/2014/main" id="{EF864D30-926B-0E3B-2003-863ED869D3A9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19" name="Group 14">
            <a:extLst>
              <a:ext uri="{FF2B5EF4-FFF2-40B4-BE49-F238E27FC236}">
                <a16:creationId xmlns:a16="http://schemas.microsoft.com/office/drawing/2014/main" id="{BD6A3244-85C0-F294-C04B-C36353346B57}"/>
              </a:ext>
            </a:extLst>
          </p:cNvPr>
          <p:cNvGrpSpPr>
            <a:grpSpLocks noChangeAspect="1"/>
          </p:cNvGrpSpPr>
          <p:nvPr/>
        </p:nvGrpSpPr>
        <p:grpSpPr>
          <a:xfrm>
            <a:off x="1332571" y="1825673"/>
            <a:ext cx="1512035" cy="1309354"/>
            <a:chOff x="0" y="0"/>
            <a:chExt cx="4282440" cy="3708400"/>
          </a:xfrm>
        </p:grpSpPr>
        <p:sp>
          <p:nvSpPr>
            <p:cNvPr id="20" name="Freeform 15">
              <a:extLst>
                <a:ext uri="{FF2B5EF4-FFF2-40B4-BE49-F238E27FC236}">
                  <a16:creationId xmlns:a16="http://schemas.microsoft.com/office/drawing/2014/main" id="{E878B086-DB5D-19E7-CB18-9843868B3EA0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1" name="Group 16">
            <a:extLst>
              <a:ext uri="{FF2B5EF4-FFF2-40B4-BE49-F238E27FC236}">
                <a16:creationId xmlns:a16="http://schemas.microsoft.com/office/drawing/2014/main" id="{E2A16322-2149-E9DA-81B4-808B647A7AEA}"/>
              </a:ext>
            </a:extLst>
          </p:cNvPr>
          <p:cNvGrpSpPr>
            <a:grpSpLocks noChangeAspect="1"/>
          </p:cNvGrpSpPr>
          <p:nvPr/>
        </p:nvGrpSpPr>
        <p:grpSpPr>
          <a:xfrm>
            <a:off x="36827" y="2506471"/>
            <a:ext cx="1512035" cy="1309354"/>
            <a:chOff x="0" y="0"/>
            <a:chExt cx="4282440" cy="3708400"/>
          </a:xfrm>
        </p:grpSpPr>
        <p:sp>
          <p:nvSpPr>
            <p:cNvPr id="22" name="Freeform 17">
              <a:extLst>
                <a:ext uri="{FF2B5EF4-FFF2-40B4-BE49-F238E27FC236}">
                  <a16:creationId xmlns:a16="http://schemas.microsoft.com/office/drawing/2014/main" id="{9BD49836-0F4A-6269-46A6-F0152C83FDFC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3" name="Group 18">
            <a:extLst>
              <a:ext uri="{FF2B5EF4-FFF2-40B4-BE49-F238E27FC236}">
                <a16:creationId xmlns:a16="http://schemas.microsoft.com/office/drawing/2014/main" id="{B1E73EFC-1911-CEF6-92E0-D7AE6CBCA65F}"/>
              </a:ext>
            </a:extLst>
          </p:cNvPr>
          <p:cNvGrpSpPr>
            <a:grpSpLocks noChangeAspect="1"/>
          </p:cNvGrpSpPr>
          <p:nvPr/>
        </p:nvGrpSpPr>
        <p:grpSpPr>
          <a:xfrm>
            <a:off x="144973" y="-381959"/>
            <a:ext cx="1512035" cy="1309354"/>
            <a:chOff x="0" y="0"/>
            <a:chExt cx="4282440" cy="3708400"/>
          </a:xfrm>
        </p:grpSpPr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B87AC40F-7DA0-FBCF-F119-B7163596449C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25" name="Group 20">
            <a:extLst>
              <a:ext uri="{FF2B5EF4-FFF2-40B4-BE49-F238E27FC236}">
                <a16:creationId xmlns:a16="http://schemas.microsoft.com/office/drawing/2014/main" id="{92A04046-EACC-E004-CD32-CF15D5846798}"/>
              </a:ext>
            </a:extLst>
          </p:cNvPr>
          <p:cNvGrpSpPr>
            <a:grpSpLocks noChangeAspect="1"/>
          </p:cNvGrpSpPr>
          <p:nvPr/>
        </p:nvGrpSpPr>
        <p:grpSpPr>
          <a:xfrm>
            <a:off x="1295744" y="6144108"/>
            <a:ext cx="1512035" cy="1309354"/>
            <a:chOff x="0" y="0"/>
            <a:chExt cx="4282440" cy="3708400"/>
          </a:xfrm>
        </p:grpSpPr>
        <p:sp>
          <p:nvSpPr>
            <p:cNvPr id="26" name="Freeform 21">
              <a:extLst>
                <a:ext uri="{FF2B5EF4-FFF2-40B4-BE49-F238E27FC236}">
                  <a16:creationId xmlns:a16="http://schemas.microsoft.com/office/drawing/2014/main" id="{453A13B7-85A7-BA73-9A6D-2D80ABDB2D5D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28" name="Espace réservé du texte 27">
            <a:extLst>
              <a:ext uri="{FF2B5EF4-FFF2-40B4-BE49-F238E27FC236}">
                <a16:creationId xmlns:a16="http://schemas.microsoft.com/office/drawing/2014/main" id="{BBD52D01-002C-DDB3-BF8F-7E1679FAFE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047999" y="2089200"/>
            <a:ext cx="8572501" cy="1817159"/>
          </a:xfrm>
          <a:prstGeom prst="rect">
            <a:avLst/>
          </a:prstGeom>
        </p:spPr>
        <p:txBody>
          <a:bodyPr/>
          <a:lstStyle>
            <a:lvl1pPr>
              <a:defRPr sz="2133" b="1" i="0">
                <a:latin typeface="Poppins" pitchFamily="2" charset="77"/>
                <a:cs typeface="Poppins" pitchFamily="2" charset="77"/>
              </a:defRPr>
            </a:lvl1pPr>
            <a:lvl2pPr>
              <a:defRPr sz="2133" b="0" i="0">
                <a:latin typeface="Poppins Light" pitchFamily="2" charset="77"/>
                <a:cs typeface="Poppins Light" pitchFamily="2" charset="77"/>
              </a:defRPr>
            </a:lvl2pPr>
            <a:lvl3pPr>
              <a:defRPr sz="2133" b="0" i="0">
                <a:latin typeface="Poppins Light" pitchFamily="2" charset="77"/>
                <a:cs typeface="Poppins Light" pitchFamily="2" charset="77"/>
              </a:defRPr>
            </a:lvl3pPr>
            <a:lvl4pPr>
              <a:defRPr sz="2133" b="0" i="0">
                <a:latin typeface="Poppins Light" pitchFamily="2" charset="77"/>
                <a:cs typeface="Poppins Light" pitchFamily="2" charset="77"/>
              </a:defRPr>
            </a:lvl4pPr>
            <a:lvl5pPr>
              <a:defRPr sz="2133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30" name="Espace réservé du texte 29">
            <a:extLst>
              <a:ext uri="{FF2B5EF4-FFF2-40B4-BE49-F238E27FC236}">
                <a16:creationId xmlns:a16="http://schemas.microsoft.com/office/drawing/2014/main" id="{2BE23FD0-3B31-7AAB-B75F-EA6CE1761D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048000" y="4191000"/>
            <a:ext cx="4152900" cy="2387600"/>
          </a:xfrm>
          <a:prstGeom prst="rect">
            <a:avLst/>
          </a:prstGeom>
        </p:spPr>
        <p:txBody>
          <a:bodyPr/>
          <a:lstStyle>
            <a:lvl1pPr>
              <a:defRPr sz="1333" b="1" i="0">
                <a:latin typeface="Poppins" pitchFamily="2" charset="77"/>
                <a:cs typeface="Poppins" pitchFamily="2" charset="77"/>
              </a:defRPr>
            </a:lvl1pPr>
            <a:lvl2pPr>
              <a:defRPr sz="1333" b="0" i="0">
                <a:latin typeface="Poppins Light" pitchFamily="2" charset="77"/>
                <a:cs typeface="Poppins Light" pitchFamily="2" charset="77"/>
              </a:defRPr>
            </a:lvl2pPr>
            <a:lvl3pPr>
              <a:defRPr sz="1333" b="0" i="0">
                <a:latin typeface="Poppins Light" pitchFamily="2" charset="77"/>
                <a:cs typeface="Poppins Light" pitchFamily="2" charset="77"/>
              </a:defRPr>
            </a:lvl3pPr>
            <a:lvl4pPr>
              <a:defRPr sz="1333" b="0" i="0">
                <a:latin typeface="Poppins Light" pitchFamily="2" charset="77"/>
                <a:cs typeface="Poppins Light" pitchFamily="2" charset="77"/>
              </a:defRPr>
            </a:lvl4pPr>
            <a:lvl5pPr>
              <a:defRPr sz="1333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32" name="Espace réservé du texte 31">
            <a:extLst>
              <a:ext uri="{FF2B5EF4-FFF2-40B4-BE49-F238E27FC236}">
                <a16:creationId xmlns:a16="http://schemas.microsoft.com/office/drawing/2014/main" id="{E19EA179-BA4B-82E5-CEFA-53B658CD84A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467600" y="4191000"/>
            <a:ext cx="4152900" cy="2387600"/>
          </a:xfrm>
          <a:prstGeom prst="rect">
            <a:avLst/>
          </a:prstGeom>
        </p:spPr>
        <p:txBody>
          <a:bodyPr/>
          <a:lstStyle>
            <a:lvl1pPr>
              <a:defRPr sz="1333" b="1" i="0">
                <a:latin typeface="Poppins" pitchFamily="2" charset="77"/>
                <a:cs typeface="Poppins" pitchFamily="2" charset="77"/>
              </a:defRPr>
            </a:lvl1pPr>
            <a:lvl2pPr>
              <a:defRPr sz="1333" b="1" i="0">
                <a:latin typeface="Poppins" pitchFamily="2" charset="77"/>
                <a:cs typeface="Poppins" pitchFamily="2" charset="77"/>
              </a:defRPr>
            </a:lvl2pPr>
            <a:lvl3pPr>
              <a:defRPr sz="1333" b="1" i="0">
                <a:latin typeface="Poppins" pitchFamily="2" charset="77"/>
                <a:cs typeface="Poppins" pitchFamily="2" charset="77"/>
              </a:defRPr>
            </a:lvl3pPr>
            <a:lvl4pPr>
              <a:defRPr sz="1333" b="1" i="0">
                <a:latin typeface="Poppins" pitchFamily="2" charset="77"/>
                <a:cs typeface="Poppins" pitchFamily="2" charset="77"/>
              </a:defRPr>
            </a:lvl4pPr>
            <a:lvl5pPr>
              <a:defRPr sz="1333" b="1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31" name="ZoneTexte 30">
            <a:extLst>
              <a:ext uri="{FF2B5EF4-FFF2-40B4-BE49-F238E27FC236}">
                <a16:creationId xmlns:a16="http://schemas.microsoft.com/office/drawing/2014/main" id="{FC5A0AE8-0394-B9A5-3402-15A685DFD2F6}"/>
              </a:ext>
            </a:extLst>
          </p:cNvPr>
          <p:cNvSpPr txBox="1"/>
          <p:nvPr/>
        </p:nvSpPr>
        <p:spPr>
          <a:xfrm>
            <a:off x="9652000" y="6535578"/>
            <a:ext cx="196849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latin typeface="Poppins" pitchFamily="2" charset="77"/>
                <a:cs typeface="Poppins" pitchFamily="2" charset="77"/>
              </a:rPr>
              <a:t>Formation Complète</a:t>
            </a:r>
          </a:p>
        </p:txBody>
      </p:sp>
      <p:cxnSp>
        <p:nvCxnSpPr>
          <p:cNvPr id="33" name="Connecteur droit 32">
            <a:extLst>
              <a:ext uri="{FF2B5EF4-FFF2-40B4-BE49-F238E27FC236}">
                <a16:creationId xmlns:a16="http://schemas.microsoft.com/office/drawing/2014/main" id="{C06AC00C-F834-ED7A-46AD-18CADEC07B46}"/>
              </a:ext>
            </a:extLst>
          </p:cNvPr>
          <p:cNvCxnSpPr/>
          <p:nvPr/>
        </p:nvCxnSpPr>
        <p:spPr>
          <a:xfrm>
            <a:off x="77724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9" name="Group 2">
            <a:extLst>
              <a:ext uri="{FF2B5EF4-FFF2-40B4-BE49-F238E27FC236}">
                <a16:creationId xmlns:a16="http://schemas.microsoft.com/office/drawing/2014/main" id="{C38D5D0F-578E-4893-9BFF-23EC4C82F99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6827" y="3936476"/>
            <a:ext cx="1512035" cy="1309354"/>
            <a:chOff x="0" y="0"/>
            <a:chExt cx="4282440" cy="3708400"/>
          </a:xfrm>
        </p:grpSpPr>
        <p:sp>
          <p:nvSpPr>
            <p:cNvPr id="34" name="Freeform 3">
              <a:extLst>
                <a:ext uri="{FF2B5EF4-FFF2-40B4-BE49-F238E27FC236}">
                  <a16:creationId xmlns:a16="http://schemas.microsoft.com/office/drawing/2014/main" id="{003C6D16-B2BC-4EFB-A448-58EFA516CC0C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35" name="Group 4">
            <a:extLst>
              <a:ext uri="{FF2B5EF4-FFF2-40B4-BE49-F238E27FC236}">
                <a16:creationId xmlns:a16="http://schemas.microsoft.com/office/drawing/2014/main" id="{4EC8B49F-E9AD-4926-B3C7-8A7ACA9C81C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95744" y="3234476"/>
            <a:ext cx="1512035" cy="1309354"/>
            <a:chOff x="0" y="0"/>
            <a:chExt cx="4282440" cy="3708400"/>
          </a:xfrm>
        </p:grpSpPr>
        <p:sp>
          <p:nvSpPr>
            <p:cNvPr id="36" name="Freeform 5">
              <a:extLst>
                <a:ext uri="{FF2B5EF4-FFF2-40B4-BE49-F238E27FC236}">
                  <a16:creationId xmlns:a16="http://schemas.microsoft.com/office/drawing/2014/main" id="{C0CC29F0-F544-4E8D-BE8E-0D901352A515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37" name="Group 6">
            <a:extLst>
              <a:ext uri="{FF2B5EF4-FFF2-40B4-BE49-F238E27FC236}">
                <a16:creationId xmlns:a16="http://schemas.microsoft.com/office/drawing/2014/main" id="{CF0745F1-C1AA-44E7-A3AB-80737E151188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95744" y="4688703"/>
            <a:ext cx="1512035" cy="1309354"/>
            <a:chOff x="0" y="0"/>
            <a:chExt cx="4282440" cy="3708400"/>
          </a:xfrm>
        </p:grpSpPr>
        <p:sp>
          <p:nvSpPr>
            <p:cNvPr id="38" name="Freeform 7">
              <a:extLst>
                <a:ext uri="{FF2B5EF4-FFF2-40B4-BE49-F238E27FC236}">
                  <a16:creationId xmlns:a16="http://schemas.microsoft.com/office/drawing/2014/main" id="{374117F1-8FE6-4E88-916C-99842436DE6E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39" name="Group 8">
            <a:extLst>
              <a:ext uri="{FF2B5EF4-FFF2-40B4-BE49-F238E27FC236}">
                <a16:creationId xmlns:a16="http://schemas.microsoft.com/office/drawing/2014/main" id="{90F1A009-EDEC-490D-98BF-4F23675AF82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" y="5369502"/>
            <a:ext cx="1512035" cy="1309354"/>
            <a:chOff x="0" y="0"/>
            <a:chExt cx="4282440" cy="3708400"/>
          </a:xfrm>
        </p:grpSpPr>
        <p:sp>
          <p:nvSpPr>
            <p:cNvPr id="40" name="Freeform 9">
              <a:extLst>
                <a:ext uri="{FF2B5EF4-FFF2-40B4-BE49-F238E27FC236}">
                  <a16:creationId xmlns:a16="http://schemas.microsoft.com/office/drawing/2014/main" id="{D3FAB1EC-2650-428D-AFEE-BB73E0673379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41" name="Group 10">
            <a:extLst>
              <a:ext uri="{FF2B5EF4-FFF2-40B4-BE49-F238E27FC236}">
                <a16:creationId xmlns:a16="http://schemas.microsoft.com/office/drawing/2014/main" id="{C5B7FA23-02FA-42E1-BCE0-B8D26EBD8F3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3654" y="1073445"/>
            <a:ext cx="1512035" cy="1309354"/>
            <a:chOff x="0" y="0"/>
            <a:chExt cx="4282440" cy="3708400"/>
          </a:xfrm>
        </p:grpSpPr>
        <p:sp>
          <p:nvSpPr>
            <p:cNvPr id="42" name="Freeform 11">
              <a:extLst>
                <a:ext uri="{FF2B5EF4-FFF2-40B4-BE49-F238E27FC236}">
                  <a16:creationId xmlns:a16="http://schemas.microsoft.com/office/drawing/2014/main" id="{01A29188-7DF5-478A-A939-FED350ED82AF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43" name="Group 12">
            <a:extLst>
              <a:ext uri="{FF2B5EF4-FFF2-40B4-BE49-F238E27FC236}">
                <a16:creationId xmlns:a16="http://schemas.microsoft.com/office/drawing/2014/main" id="{0CE70912-5A98-4E15-BF77-195177BC392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332571" y="371445"/>
            <a:ext cx="1512035" cy="1309354"/>
            <a:chOff x="0" y="0"/>
            <a:chExt cx="4282440" cy="3708400"/>
          </a:xfrm>
        </p:grpSpPr>
        <p:sp>
          <p:nvSpPr>
            <p:cNvPr id="44" name="Freeform 13">
              <a:extLst>
                <a:ext uri="{FF2B5EF4-FFF2-40B4-BE49-F238E27FC236}">
                  <a16:creationId xmlns:a16="http://schemas.microsoft.com/office/drawing/2014/main" id="{6774145C-D685-418C-AA1C-FCEEDAABC4E0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45" name="Group 14">
            <a:extLst>
              <a:ext uri="{FF2B5EF4-FFF2-40B4-BE49-F238E27FC236}">
                <a16:creationId xmlns:a16="http://schemas.microsoft.com/office/drawing/2014/main" id="{041F00D3-E21C-4F37-BFE1-CB3F7400A3F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332571" y="1825673"/>
            <a:ext cx="1512035" cy="1309354"/>
            <a:chOff x="0" y="0"/>
            <a:chExt cx="4282440" cy="3708400"/>
          </a:xfrm>
        </p:grpSpPr>
        <p:sp>
          <p:nvSpPr>
            <p:cNvPr id="46" name="Freeform 15">
              <a:extLst>
                <a:ext uri="{FF2B5EF4-FFF2-40B4-BE49-F238E27FC236}">
                  <a16:creationId xmlns:a16="http://schemas.microsoft.com/office/drawing/2014/main" id="{83C75743-8D0E-4131-B380-97291D9DD0DE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47" name="Group 16">
            <a:extLst>
              <a:ext uri="{FF2B5EF4-FFF2-40B4-BE49-F238E27FC236}">
                <a16:creationId xmlns:a16="http://schemas.microsoft.com/office/drawing/2014/main" id="{5D8D3337-2056-4A36-916A-AFF3D19B445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36827" y="2506471"/>
            <a:ext cx="1512035" cy="1309354"/>
            <a:chOff x="0" y="0"/>
            <a:chExt cx="4282440" cy="3708400"/>
          </a:xfrm>
        </p:grpSpPr>
        <p:sp>
          <p:nvSpPr>
            <p:cNvPr id="48" name="Freeform 17">
              <a:extLst>
                <a:ext uri="{FF2B5EF4-FFF2-40B4-BE49-F238E27FC236}">
                  <a16:creationId xmlns:a16="http://schemas.microsoft.com/office/drawing/2014/main" id="{CF45CD96-CE77-488A-9E3D-961465B5B7FA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49" name="Group 18">
            <a:extLst>
              <a:ext uri="{FF2B5EF4-FFF2-40B4-BE49-F238E27FC236}">
                <a16:creationId xmlns:a16="http://schemas.microsoft.com/office/drawing/2014/main" id="{D2B6B76A-7A57-4AF4-B443-A0EF0D6342E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44973" y="-381959"/>
            <a:ext cx="1512035" cy="1309354"/>
            <a:chOff x="0" y="0"/>
            <a:chExt cx="4282440" cy="3708400"/>
          </a:xfrm>
        </p:grpSpPr>
        <p:sp>
          <p:nvSpPr>
            <p:cNvPr id="50" name="Freeform 19">
              <a:extLst>
                <a:ext uri="{FF2B5EF4-FFF2-40B4-BE49-F238E27FC236}">
                  <a16:creationId xmlns:a16="http://schemas.microsoft.com/office/drawing/2014/main" id="{9FCB2B3C-9B4F-4793-9526-73B75AA464F3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10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grpSp>
        <p:nvGrpSpPr>
          <p:cNvPr id="51" name="Group 20">
            <a:extLst>
              <a:ext uri="{FF2B5EF4-FFF2-40B4-BE49-F238E27FC236}">
                <a16:creationId xmlns:a16="http://schemas.microsoft.com/office/drawing/2014/main" id="{EA2D2A9C-FB19-4CE8-842D-13DC908CACF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295744" y="6144108"/>
            <a:ext cx="1512035" cy="1309354"/>
            <a:chOff x="0" y="0"/>
            <a:chExt cx="4282440" cy="3708400"/>
          </a:xfrm>
        </p:grpSpPr>
        <p:sp>
          <p:nvSpPr>
            <p:cNvPr id="52" name="Freeform 21">
              <a:extLst>
                <a:ext uri="{FF2B5EF4-FFF2-40B4-BE49-F238E27FC236}">
                  <a16:creationId xmlns:a16="http://schemas.microsoft.com/office/drawing/2014/main" id="{19222F95-4207-4D2D-8A18-08A32B770EBA}"/>
                </a:ext>
              </a:extLst>
            </p:cNvPr>
            <p:cNvSpPr/>
            <p:nvPr/>
          </p:nvSpPr>
          <p:spPr>
            <a:xfrm>
              <a:off x="0" y="0"/>
              <a:ext cx="4282440" cy="3708400"/>
            </a:xfrm>
            <a:custGeom>
              <a:avLst/>
              <a:gdLst/>
              <a:ahLst/>
              <a:cxnLst/>
              <a:rect l="l" t="t" r="r" b="b"/>
              <a:pathLst>
                <a:path w="4282440" h="3708400">
                  <a:moveTo>
                    <a:pt x="3211830" y="0"/>
                  </a:moveTo>
                  <a:lnTo>
                    <a:pt x="1070610" y="0"/>
                  </a:lnTo>
                  <a:lnTo>
                    <a:pt x="0" y="1854200"/>
                  </a:lnTo>
                  <a:lnTo>
                    <a:pt x="1070610" y="3708400"/>
                  </a:lnTo>
                  <a:lnTo>
                    <a:pt x="3211830" y="3708400"/>
                  </a:lnTo>
                  <a:lnTo>
                    <a:pt x="4282440" y="1854200"/>
                  </a:lnTo>
                  <a:close/>
                </a:path>
              </a:pathLst>
            </a:custGeom>
            <a:blipFill>
              <a:blip r:embed="rId11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cxnSp>
        <p:nvCxnSpPr>
          <p:cNvPr id="54" name="Connecteur droit 32">
            <a:extLst>
              <a:ext uri="{FF2B5EF4-FFF2-40B4-BE49-F238E27FC236}">
                <a16:creationId xmlns:a16="http://schemas.microsoft.com/office/drawing/2014/main" id="{4E00AFE8-E42C-472B-81AF-8B93B9A36CC7}"/>
              </a:ext>
            </a:extLst>
          </p:cNvPr>
          <p:cNvCxnSpPr/>
          <p:nvPr userDrawn="1"/>
        </p:nvCxnSpPr>
        <p:spPr>
          <a:xfrm>
            <a:off x="77724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914199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E5CA695-47E5-4161-A7F8-B503F081FBD1}" type="datetime1">
              <a:rPr lang="en-US" smtClean="0"/>
              <a:t>7/2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84A28-5CFC-4064-84AD-8427685188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137881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4787EFD-E633-729D-1E35-6149E1667D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65706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4AFD430C-9AAD-447B-22C6-F29FCA3A12B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208868"/>
            <a:ext cx="10515600" cy="4968624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1pPr>
            <a:lvl2pPr marL="45722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2pPr>
            <a:lvl3pPr marL="762038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3pPr>
            <a:lvl4pPr marL="106685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4pPr>
            <a:lvl5pPr marL="1371669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8" name="Group 3">
            <a:extLst>
              <a:ext uri="{FF2B5EF4-FFF2-40B4-BE49-F238E27FC236}">
                <a16:creationId xmlns:a16="http://schemas.microsoft.com/office/drawing/2014/main" id="{CCCCB5CB-8202-C82F-DAE4-2BA9DA66E5C9}"/>
              </a:ext>
            </a:extLst>
          </p:cNvPr>
          <p:cNvGrpSpPr>
            <a:grpSpLocks noChangeAspect="1"/>
          </p:cNvGrpSpPr>
          <p:nvPr/>
        </p:nvGrpSpPr>
        <p:grpSpPr>
          <a:xfrm>
            <a:off x="8310447" y="2976447"/>
            <a:ext cx="3881553" cy="3881553"/>
            <a:chOff x="0" y="0"/>
            <a:chExt cx="6350000" cy="6350000"/>
          </a:xfrm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D7013DD4-0F71-A24E-1A1C-B5E113905D6A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03A2EF51-C4BD-0BF5-CDA6-B5C334CBF8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 rot="18873666">
            <a:off x="8675748" y="4956869"/>
            <a:ext cx="4058681" cy="812800"/>
          </a:xfrm>
          <a:prstGeom prst="rect">
            <a:avLst/>
          </a:prstGeom>
        </p:spPr>
        <p:txBody>
          <a:bodyPr/>
          <a:lstStyle>
            <a:lvl1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2pPr>
            <a:lvl3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3pPr>
            <a:lvl4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4pPr>
            <a:lvl5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7" name="Group 3">
            <a:extLst>
              <a:ext uri="{FF2B5EF4-FFF2-40B4-BE49-F238E27FC236}">
                <a16:creationId xmlns:a16="http://schemas.microsoft.com/office/drawing/2014/main" id="{65226802-8905-417F-B274-16F6D39C6C0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310447" y="2976447"/>
            <a:ext cx="3881553" cy="3881553"/>
            <a:chOff x="0" y="0"/>
            <a:chExt cx="6350000" cy="6350000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C554F417-EF35-4AE3-AA15-1BD0B9DF66D0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</p:spTree>
    <p:extLst>
      <p:ext uri="{BB962C8B-B14F-4D97-AF65-F5344CB8AC3E}">
        <p14:creationId xmlns:p14="http://schemas.microsoft.com/office/powerpoint/2010/main" val="36957059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4">
            <a:extLst>
              <a:ext uri="{FF2B5EF4-FFF2-40B4-BE49-F238E27FC236}">
                <a16:creationId xmlns:a16="http://schemas.microsoft.com/office/drawing/2014/main" id="{FFFF934C-B719-D64C-6950-DB2144B26250}"/>
              </a:ext>
            </a:extLst>
          </p:cNvPr>
          <p:cNvGrpSpPr>
            <a:grpSpLocks noChangeAspect="1"/>
          </p:cNvGrpSpPr>
          <p:nvPr/>
        </p:nvGrpSpPr>
        <p:grpSpPr>
          <a:xfrm rot="-9557326">
            <a:off x="-772341" y="-1725855"/>
            <a:ext cx="6801264" cy="6801264"/>
            <a:chOff x="0" y="0"/>
            <a:chExt cx="6350000" cy="6350000"/>
          </a:xfrm>
        </p:grpSpPr>
        <p:sp>
          <p:nvSpPr>
            <p:cNvPr id="11" name="Freeform 5">
              <a:extLst>
                <a:ext uri="{FF2B5EF4-FFF2-40B4-BE49-F238E27FC236}">
                  <a16:creationId xmlns:a16="http://schemas.microsoft.com/office/drawing/2014/main" id="{85E54572-8C2C-DF20-1988-DC16E94D105C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alphaModFix amt="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36A2483E-413F-C3B8-E2B3-D413F0C34F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6083" y="3115071"/>
            <a:ext cx="5157259" cy="447675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1" i="0">
                <a:latin typeface="Poppins" pitchFamily="2" charset="77"/>
                <a:cs typeface="Poppins" pitchFamily="2" charset="77"/>
              </a:defRPr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BA00D3B7-6D1F-67A6-9B98-AD523EB741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6083" y="3657923"/>
            <a:ext cx="5157259" cy="2532063"/>
          </a:xfrm>
          <a:prstGeom prst="rect">
            <a:avLst/>
          </a:prstGeom>
        </p:spPr>
        <p:txBody>
          <a:bodyPr/>
          <a:lstStyle>
            <a:lvl1pPr>
              <a:defRPr sz="1867" b="0" i="0">
                <a:latin typeface="Poppins Light" pitchFamily="2" charset="77"/>
                <a:cs typeface="Poppins Light" pitchFamily="2" charset="77"/>
              </a:defRPr>
            </a:lvl1pPr>
            <a:lvl2pPr>
              <a:defRPr sz="1867" b="0" i="0">
                <a:latin typeface="Poppins Light" pitchFamily="2" charset="77"/>
                <a:cs typeface="Poppins Light" pitchFamily="2" charset="77"/>
              </a:defRPr>
            </a:lvl2pPr>
            <a:lvl3pPr>
              <a:defRPr sz="1867" b="0" i="0">
                <a:latin typeface="Poppins Light" pitchFamily="2" charset="77"/>
                <a:cs typeface="Poppins Light" pitchFamily="2" charset="77"/>
              </a:defRPr>
            </a:lvl3pPr>
            <a:lvl4pPr>
              <a:defRPr sz="1867" b="0" i="0">
                <a:latin typeface="Poppins Light" pitchFamily="2" charset="77"/>
                <a:cs typeface="Poppins Light" pitchFamily="2" charset="77"/>
              </a:defRPr>
            </a:lvl4pPr>
            <a:lvl5pPr>
              <a:defRPr sz="1867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1903D66-C3F7-B452-C00E-8D76F1FBD51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706281"/>
            <a:ext cx="5183717" cy="82338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1" i="0">
                <a:latin typeface="Poppins" pitchFamily="2" charset="77"/>
                <a:cs typeface="Poppins" pitchFamily="2" charset="77"/>
              </a:defRPr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371F842D-2342-FBED-7119-99A0A2BE377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1529665"/>
            <a:ext cx="5183717" cy="4660528"/>
          </a:xfrm>
          <a:prstGeom prst="rect">
            <a:avLst/>
          </a:prstGeom>
        </p:spPr>
        <p:txBody>
          <a:bodyPr/>
          <a:lstStyle>
            <a:lvl1pPr>
              <a:defRPr sz="1867" b="0" i="0">
                <a:latin typeface="Poppins Light" pitchFamily="2" charset="77"/>
                <a:cs typeface="Poppins Light" pitchFamily="2" charset="77"/>
              </a:defRPr>
            </a:lvl1pPr>
            <a:lvl2pPr>
              <a:defRPr sz="1867" b="0" i="0">
                <a:latin typeface="Poppins Light" pitchFamily="2" charset="77"/>
                <a:cs typeface="Poppins Light" pitchFamily="2" charset="77"/>
              </a:defRPr>
            </a:lvl2pPr>
            <a:lvl3pPr>
              <a:defRPr sz="1867" b="0" i="0">
                <a:latin typeface="Poppins Light" pitchFamily="2" charset="77"/>
                <a:cs typeface="Poppins Light" pitchFamily="2" charset="77"/>
              </a:defRPr>
            </a:lvl3pPr>
            <a:lvl4pPr>
              <a:defRPr sz="1867" b="0" i="0">
                <a:latin typeface="Poppins Light" pitchFamily="2" charset="77"/>
                <a:cs typeface="Poppins Light" pitchFamily="2" charset="77"/>
              </a:defRPr>
            </a:lvl4pPr>
            <a:lvl5pPr>
              <a:defRPr sz="1867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2" name="AutoShape 3">
            <a:extLst>
              <a:ext uri="{FF2B5EF4-FFF2-40B4-BE49-F238E27FC236}">
                <a16:creationId xmlns:a16="http://schemas.microsoft.com/office/drawing/2014/main" id="{692268E6-5EAA-1ABD-6AEF-F579E2E043C5}"/>
              </a:ext>
            </a:extLst>
          </p:cNvPr>
          <p:cNvSpPr/>
          <p:nvPr/>
        </p:nvSpPr>
        <p:spPr>
          <a:xfrm rot="5400000">
            <a:off x="3321147" y="3618334"/>
            <a:ext cx="5092507" cy="50800"/>
          </a:xfrm>
          <a:prstGeom prst="line">
            <a:avLst/>
          </a:prstGeom>
          <a:ln w="9525" cap="rnd">
            <a:solidFill>
              <a:srgbClr val="292929"/>
            </a:solidFill>
            <a:prstDash val="solid"/>
            <a:headEnd type="none" w="sm" len="sm"/>
            <a:tailEnd type="none" w="sm" len="sm"/>
          </a:ln>
        </p:spPr>
      </p:sp>
      <p:sp>
        <p:nvSpPr>
          <p:cNvPr id="14" name="Espace réservé du texte 13">
            <a:extLst>
              <a:ext uri="{FF2B5EF4-FFF2-40B4-BE49-F238E27FC236}">
                <a16:creationId xmlns:a16="http://schemas.microsoft.com/office/drawing/2014/main" id="{29454BF6-5CF9-605C-F5B1-B069DA8CB30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 rot="20156412">
            <a:off x="99568" y="843864"/>
            <a:ext cx="4596954" cy="1371600"/>
          </a:xfrm>
          <a:prstGeom prst="rect">
            <a:avLst/>
          </a:prstGeom>
        </p:spPr>
        <p:txBody>
          <a:bodyPr/>
          <a:lstStyle>
            <a:lvl1pPr>
              <a:defRPr sz="1733" b="1" i="0">
                <a:latin typeface="Poppins" pitchFamily="2" charset="77"/>
                <a:cs typeface="Poppins" pitchFamily="2" charset="77"/>
              </a:defRPr>
            </a:lvl1pPr>
            <a:lvl2pPr>
              <a:defRPr sz="1733" b="1" i="0">
                <a:latin typeface="Poppins" pitchFamily="2" charset="77"/>
                <a:cs typeface="Poppins" pitchFamily="2" charset="77"/>
              </a:defRPr>
            </a:lvl2pPr>
            <a:lvl3pPr>
              <a:defRPr sz="1733" b="1" i="0">
                <a:latin typeface="Poppins" pitchFamily="2" charset="77"/>
                <a:cs typeface="Poppins" pitchFamily="2" charset="77"/>
              </a:defRPr>
            </a:lvl3pPr>
            <a:lvl4pPr>
              <a:defRPr sz="1733" b="1" i="0">
                <a:latin typeface="Poppins" pitchFamily="2" charset="77"/>
                <a:cs typeface="Poppins" pitchFamily="2" charset="77"/>
              </a:defRPr>
            </a:lvl4pPr>
            <a:lvl5pPr>
              <a:defRPr sz="1733" b="1" i="0">
                <a:latin typeface="Poppins" pitchFamily="2" charset="77"/>
                <a:cs typeface="Poppins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1EE77FFA-5EF5-8069-8E06-B478DCAA1005}"/>
              </a:ext>
            </a:extLst>
          </p:cNvPr>
          <p:cNvSpPr txBox="1"/>
          <p:nvPr/>
        </p:nvSpPr>
        <p:spPr>
          <a:xfrm>
            <a:off x="8737600" y="6535579"/>
            <a:ext cx="33528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fr-FR" sz="1200">
                <a:latin typeface="Poppins" pitchFamily="2" charset="77"/>
                <a:cs typeface="Poppins" pitchFamily="2" charset="77"/>
              </a:rPr>
              <a:t>Formation Complète</a:t>
            </a:r>
          </a:p>
        </p:txBody>
      </p:sp>
      <p:cxnSp>
        <p:nvCxnSpPr>
          <p:cNvPr id="15" name="Connecteur droit 14">
            <a:extLst>
              <a:ext uri="{FF2B5EF4-FFF2-40B4-BE49-F238E27FC236}">
                <a16:creationId xmlns:a16="http://schemas.microsoft.com/office/drawing/2014/main" id="{840E7199-AB3D-0B9E-F54D-7ADEDF56C1AD}"/>
              </a:ext>
            </a:extLst>
          </p:cNvPr>
          <p:cNvCxnSpPr/>
          <p:nvPr/>
        </p:nvCxnSpPr>
        <p:spPr>
          <a:xfrm>
            <a:off x="77724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4">
            <a:extLst>
              <a:ext uri="{FF2B5EF4-FFF2-40B4-BE49-F238E27FC236}">
                <a16:creationId xmlns:a16="http://schemas.microsoft.com/office/drawing/2014/main" id="{0DC41606-F8D8-48F0-818F-2D21E010B57C}"/>
              </a:ext>
            </a:extLst>
          </p:cNvPr>
          <p:cNvGrpSpPr>
            <a:grpSpLocks noChangeAspect="1"/>
          </p:cNvGrpSpPr>
          <p:nvPr userDrawn="1"/>
        </p:nvGrpSpPr>
        <p:grpSpPr>
          <a:xfrm rot="-9557326">
            <a:off x="-772341" y="-1725855"/>
            <a:ext cx="6801264" cy="6801264"/>
            <a:chOff x="0" y="0"/>
            <a:chExt cx="6350000" cy="6350000"/>
          </a:xfrm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FFC94BC9-5B15-4B56-A690-FECF762B5CBB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alphaModFix amt="70000"/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18" name="AutoShape 3">
            <a:extLst>
              <a:ext uri="{FF2B5EF4-FFF2-40B4-BE49-F238E27FC236}">
                <a16:creationId xmlns:a16="http://schemas.microsoft.com/office/drawing/2014/main" id="{05864A85-CEE8-46AA-A2BA-7208DA74684D}"/>
              </a:ext>
            </a:extLst>
          </p:cNvPr>
          <p:cNvSpPr/>
          <p:nvPr userDrawn="1"/>
        </p:nvSpPr>
        <p:spPr>
          <a:xfrm rot="5400000">
            <a:off x="3321147" y="3618334"/>
            <a:ext cx="5092507" cy="50800"/>
          </a:xfrm>
          <a:prstGeom prst="line">
            <a:avLst/>
          </a:prstGeom>
          <a:ln w="9525" cap="rnd">
            <a:solidFill>
              <a:srgbClr val="292929"/>
            </a:solidFill>
            <a:prstDash val="solid"/>
            <a:headEnd type="none" w="sm" len="sm"/>
            <a:tailEnd type="none" w="sm" len="sm"/>
          </a:ln>
        </p:spPr>
      </p:sp>
      <p:cxnSp>
        <p:nvCxnSpPr>
          <p:cNvPr id="20" name="Connecteur droit 14">
            <a:extLst>
              <a:ext uri="{FF2B5EF4-FFF2-40B4-BE49-F238E27FC236}">
                <a16:creationId xmlns:a16="http://schemas.microsoft.com/office/drawing/2014/main" id="{EB59CCBE-A513-44EF-B0D6-9E2282369AD8}"/>
              </a:ext>
            </a:extLst>
          </p:cNvPr>
          <p:cNvCxnSpPr/>
          <p:nvPr userDrawn="1"/>
        </p:nvCxnSpPr>
        <p:spPr>
          <a:xfrm>
            <a:off x="77724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7629795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3">
            <a:extLst>
              <a:ext uri="{FF2B5EF4-FFF2-40B4-BE49-F238E27FC236}">
                <a16:creationId xmlns:a16="http://schemas.microsoft.com/office/drawing/2014/main" id="{E6EF86D9-21F0-B1D3-2DCB-0E073A3EA68E}"/>
              </a:ext>
            </a:extLst>
          </p:cNvPr>
          <p:cNvGrpSpPr>
            <a:grpSpLocks noChangeAspect="1"/>
          </p:cNvGrpSpPr>
          <p:nvPr/>
        </p:nvGrpSpPr>
        <p:grpSpPr>
          <a:xfrm>
            <a:off x="9018827" y="3617598"/>
            <a:ext cx="3881553" cy="3881553"/>
            <a:chOff x="0" y="0"/>
            <a:chExt cx="6350000" cy="6350000"/>
          </a:xfrm>
        </p:grpSpPr>
        <p:sp>
          <p:nvSpPr>
            <p:cNvPr id="9" name="Freeform 4">
              <a:extLst>
                <a:ext uri="{FF2B5EF4-FFF2-40B4-BE49-F238E27FC236}">
                  <a16:creationId xmlns:a16="http://schemas.microsoft.com/office/drawing/2014/main" id="{815721DF-CE49-1528-21D3-75ADA5689DAC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sp>
        <p:nvSpPr>
          <p:cNvPr id="10" name="ZoneTexte 9">
            <a:extLst>
              <a:ext uri="{FF2B5EF4-FFF2-40B4-BE49-F238E27FC236}">
                <a16:creationId xmlns:a16="http://schemas.microsoft.com/office/drawing/2014/main" id="{74AEF1BC-A3D0-8FBA-B1CD-F9CACE4B5804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latin typeface="Poppins" pitchFamily="2" charset="77"/>
                <a:cs typeface="Poppins" pitchFamily="2" charset="77"/>
              </a:rPr>
              <a:t>Formation Complète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EEF05428-CA87-64CB-3D38-205817364CA6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re 1">
            <a:extLst>
              <a:ext uri="{FF2B5EF4-FFF2-40B4-BE49-F238E27FC236}">
                <a16:creationId xmlns:a16="http://schemas.microsoft.com/office/drawing/2014/main" id="{10CFD663-554B-AEA0-227A-D0020BED45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5" name="Espace réservé du contenu 2">
            <a:extLst>
              <a:ext uri="{FF2B5EF4-FFF2-40B4-BE49-F238E27FC236}">
                <a16:creationId xmlns:a16="http://schemas.microsoft.com/office/drawing/2014/main" id="{356A9C79-E0DA-2C04-F91A-A03A612D51F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8000" y="1397002"/>
            <a:ext cx="10515600" cy="4780490"/>
          </a:xfrm>
          <a:prstGeom prst="rect">
            <a:avLst/>
          </a:prstGeom>
        </p:spPr>
        <p:txBody>
          <a:bodyPr/>
          <a:lstStyle>
            <a:lvl1pPr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1pPr>
            <a:lvl2pPr marL="45722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2pPr>
            <a:lvl3pPr marL="762038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3pPr>
            <a:lvl4pPr marL="1066853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4pPr>
            <a:lvl5pPr marL="1371669" indent="-152408">
              <a:buFont typeface="Courier New" panose="02070309020205020404" pitchFamily="49" charset="0"/>
              <a:buChar char="o"/>
              <a:defRPr sz="2133" b="0" i="0">
                <a:solidFill>
                  <a:srgbClr val="292929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11" name="Group 3">
            <a:extLst>
              <a:ext uri="{FF2B5EF4-FFF2-40B4-BE49-F238E27FC236}">
                <a16:creationId xmlns:a16="http://schemas.microsoft.com/office/drawing/2014/main" id="{344E2483-53BB-4026-A87C-38BB73F80840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9018827" y="3617598"/>
            <a:ext cx="3881553" cy="3881553"/>
            <a:chOff x="0" y="0"/>
            <a:chExt cx="6350000" cy="6350000"/>
          </a:xfrm>
        </p:grpSpPr>
        <p:sp>
          <p:nvSpPr>
            <p:cNvPr id="12" name="Freeform 4">
              <a:extLst>
                <a:ext uri="{FF2B5EF4-FFF2-40B4-BE49-F238E27FC236}">
                  <a16:creationId xmlns:a16="http://schemas.microsoft.com/office/drawing/2014/main" id="{829C1CC5-ECF5-4C8B-ABA3-140C13F8967D}"/>
                </a:ext>
              </a:extLst>
            </p:cNvPr>
            <p:cNvSpPr/>
            <p:nvPr/>
          </p:nvSpPr>
          <p:spPr>
            <a:xfrm>
              <a:off x="-95377" y="-95377"/>
              <a:ext cx="6540754" cy="6540754"/>
            </a:xfrm>
            <a:custGeom>
              <a:avLst/>
              <a:gdLst/>
              <a:ahLst/>
              <a:cxnLst/>
              <a:rect l="l" t="t" r="r" b="b"/>
              <a:pathLst>
                <a:path w="6540754" h="6540754">
                  <a:moveTo>
                    <a:pt x="6540754" y="0"/>
                  </a:moveTo>
                  <a:lnTo>
                    <a:pt x="0" y="6540754"/>
                  </a:lnTo>
                  <a:lnTo>
                    <a:pt x="6540754" y="6540754"/>
                  </a:lnTo>
                  <a:close/>
                </a:path>
              </a:pathLst>
            </a:custGeom>
            <a:blipFill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</p:sp>
      </p:grpSp>
      <p:cxnSp>
        <p:nvCxnSpPr>
          <p:cNvPr id="17" name="Connecteur droit 12">
            <a:extLst>
              <a:ext uri="{FF2B5EF4-FFF2-40B4-BE49-F238E27FC236}">
                <a16:creationId xmlns:a16="http://schemas.microsoft.com/office/drawing/2014/main" id="{68F5E20C-4A10-4D5F-97F2-2E6E448E123C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818832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pour une image  3">
            <a:extLst>
              <a:ext uri="{FF2B5EF4-FFF2-40B4-BE49-F238E27FC236}">
                <a16:creationId xmlns:a16="http://schemas.microsoft.com/office/drawing/2014/main" id="{03650337-9033-FF5E-51B6-2303826B0E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08001" y="1244600"/>
            <a:ext cx="5435600" cy="49455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grpSp>
        <p:nvGrpSpPr>
          <p:cNvPr id="7" name="Groupe 6">
            <a:extLst>
              <a:ext uri="{FF2B5EF4-FFF2-40B4-BE49-F238E27FC236}">
                <a16:creationId xmlns:a16="http://schemas.microsoft.com/office/drawing/2014/main" id="{9440C862-784F-E2C2-886F-26668F2D732A}"/>
              </a:ext>
            </a:extLst>
          </p:cNvPr>
          <p:cNvGrpSpPr/>
          <p:nvPr/>
        </p:nvGrpSpPr>
        <p:grpSpPr>
          <a:xfrm rot="3608892">
            <a:off x="8774233" y="6100994"/>
            <a:ext cx="717435" cy="968494"/>
            <a:chOff x="9824704" y="-2020392"/>
            <a:chExt cx="9270979" cy="12307392"/>
          </a:xfrm>
        </p:grpSpPr>
        <p:grpSp>
          <p:nvGrpSpPr>
            <p:cNvPr id="8" name="Group 3">
              <a:extLst>
                <a:ext uri="{FF2B5EF4-FFF2-40B4-BE49-F238E27FC236}">
                  <a16:creationId xmlns:a16="http://schemas.microsoft.com/office/drawing/2014/main" id="{FC664A38-FFB6-95B8-4D0B-5594950345E5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17" name="Freeform 4">
                <a:extLst>
                  <a:ext uri="{FF2B5EF4-FFF2-40B4-BE49-F238E27FC236}">
                    <a16:creationId xmlns:a16="http://schemas.microsoft.com/office/drawing/2014/main" id="{FC65CC07-FA89-645E-05F6-4682617E5751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9" name="Group 5">
              <a:extLst>
                <a:ext uri="{FF2B5EF4-FFF2-40B4-BE49-F238E27FC236}">
                  <a16:creationId xmlns:a16="http://schemas.microsoft.com/office/drawing/2014/main" id="{4FF1A394-D2CA-1AAB-EC81-47E59C1A54F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16" name="Freeform 6">
                <a:extLst>
                  <a:ext uri="{FF2B5EF4-FFF2-40B4-BE49-F238E27FC236}">
                    <a16:creationId xmlns:a16="http://schemas.microsoft.com/office/drawing/2014/main" id="{C620384C-BBBF-F76F-3BE5-7B143F4229FF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10" name="Group 7">
              <a:extLst>
                <a:ext uri="{FF2B5EF4-FFF2-40B4-BE49-F238E27FC236}">
                  <a16:creationId xmlns:a16="http://schemas.microsoft.com/office/drawing/2014/main" id="{11FE0FAC-BB70-281A-04F9-8D183F02357E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15" name="Freeform 8">
                <a:extLst>
                  <a:ext uri="{FF2B5EF4-FFF2-40B4-BE49-F238E27FC236}">
                    <a16:creationId xmlns:a16="http://schemas.microsoft.com/office/drawing/2014/main" id="{C0773B33-7935-36AE-5DDD-89F1F8C9CC87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11" name="Group 9">
              <a:extLst>
                <a:ext uri="{FF2B5EF4-FFF2-40B4-BE49-F238E27FC236}">
                  <a16:creationId xmlns:a16="http://schemas.microsoft.com/office/drawing/2014/main" id="{97A04955-0EB6-236A-9A8A-193FBDA9C7F9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14" name="Freeform 10">
                <a:extLst>
                  <a:ext uri="{FF2B5EF4-FFF2-40B4-BE49-F238E27FC236}">
                    <a16:creationId xmlns:a16="http://schemas.microsoft.com/office/drawing/2014/main" id="{E8BCB372-1D58-5FC9-1CCB-13FC7E8EC6B9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8C6D9524-CEAA-B1FE-A06D-7205621E199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13" name="Freeform 12">
                <a:extLst>
                  <a:ext uri="{FF2B5EF4-FFF2-40B4-BE49-F238E27FC236}">
                    <a16:creationId xmlns:a16="http://schemas.microsoft.com/office/drawing/2014/main" id="{2D6273D6-E45E-8965-36FC-D331666B69E5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31457F6D-D459-E725-646D-C9AFE4BED8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68522" y="1244601"/>
            <a:ext cx="5183717" cy="82338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1" i="0">
                <a:latin typeface="Poppins" pitchFamily="2" charset="77"/>
                <a:cs typeface="Poppins" pitchFamily="2" charset="77"/>
              </a:defRPr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10198595-669E-5CD1-643E-C781B091C6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158999"/>
            <a:ext cx="5183717" cy="4031193"/>
          </a:xfrm>
          <a:prstGeom prst="rect">
            <a:avLst/>
          </a:prstGeom>
        </p:spPr>
        <p:txBody>
          <a:bodyPr/>
          <a:lstStyle>
            <a:lvl1pPr>
              <a:defRPr sz="1867" b="0" i="0">
                <a:latin typeface="Poppins Light" pitchFamily="2" charset="77"/>
                <a:cs typeface="Poppins Light" pitchFamily="2" charset="77"/>
              </a:defRPr>
            </a:lvl1pPr>
            <a:lvl2pPr>
              <a:defRPr sz="1867" b="0" i="0">
                <a:latin typeface="Poppins Light" pitchFamily="2" charset="77"/>
                <a:cs typeface="Poppins Light" pitchFamily="2" charset="77"/>
              </a:defRPr>
            </a:lvl2pPr>
            <a:lvl3pPr>
              <a:defRPr sz="1867" b="0" i="0">
                <a:latin typeface="Poppins Light" pitchFamily="2" charset="77"/>
                <a:cs typeface="Poppins Light" pitchFamily="2" charset="77"/>
              </a:defRPr>
            </a:lvl3pPr>
            <a:lvl4pPr>
              <a:defRPr sz="1867" b="0" i="0">
                <a:latin typeface="Poppins Light" pitchFamily="2" charset="77"/>
                <a:cs typeface="Poppins Light" pitchFamily="2" charset="77"/>
              </a:defRPr>
            </a:lvl4pPr>
            <a:lvl5pPr>
              <a:defRPr sz="1867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D6AC2CD9-5DFE-0E63-86C2-7DCC72DF8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21" name="ZoneTexte 20">
            <a:extLst>
              <a:ext uri="{FF2B5EF4-FFF2-40B4-BE49-F238E27FC236}">
                <a16:creationId xmlns:a16="http://schemas.microsoft.com/office/drawing/2014/main" id="{7D738DFE-3F42-C4F4-034D-2428872458F3}"/>
              </a:ext>
            </a:extLst>
          </p:cNvPr>
          <p:cNvSpPr txBox="1"/>
          <p:nvPr/>
        </p:nvSpPr>
        <p:spPr>
          <a:xfrm>
            <a:off x="9702800" y="6535579"/>
            <a:ext cx="175232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latin typeface="Poppins" pitchFamily="2" charset="77"/>
                <a:cs typeface="Poppins" pitchFamily="2" charset="77"/>
              </a:rPr>
              <a:t>Formation Complète</a:t>
            </a:r>
          </a:p>
        </p:txBody>
      </p:sp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09AEB984-B2B6-9D61-4AFB-DAD2DB70C812}"/>
              </a:ext>
            </a:extLst>
          </p:cNvPr>
          <p:cNvCxnSpPr>
            <a:cxnSpLocks/>
          </p:cNvCxnSpPr>
          <p:nvPr/>
        </p:nvCxnSpPr>
        <p:spPr>
          <a:xfrm flipV="1">
            <a:off x="8537452" y="6477001"/>
            <a:ext cx="3654549" cy="158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3" name="Groupe 6">
            <a:extLst>
              <a:ext uri="{FF2B5EF4-FFF2-40B4-BE49-F238E27FC236}">
                <a16:creationId xmlns:a16="http://schemas.microsoft.com/office/drawing/2014/main" id="{7E7F1C40-9256-405B-929E-BCD7DB69DE70}"/>
              </a:ext>
            </a:extLst>
          </p:cNvPr>
          <p:cNvGrpSpPr/>
          <p:nvPr userDrawn="1"/>
        </p:nvGrpSpPr>
        <p:grpSpPr>
          <a:xfrm rot="3608892">
            <a:off x="8774233" y="6100994"/>
            <a:ext cx="717435" cy="968494"/>
            <a:chOff x="9824704" y="-2020392"/>
            <a:chExt cx="9270979" cy="12307392"/>
          </a:xfrm>
        </p:grpSpPr>
        <p:grpSp>
          <p:nvGrpSpPr>
            <p:cNvPr id="24" name="Group 3">
              <a:extLst>
                <a:ext uri="{FF2B5EF4-FFF2-40B4-BE49-F238E27FC236}">
                  <a16:creationId xmlns:a16="http://schemas.microsoft.com/office/drawing/2014/main" id="{6178A4A1-8F9B-4306-841B-CC9926C69853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33" name="Freeform 4">
                <a:extLst>
                  <a:ext uri="{FF2B5EF4-FFF2-40B4-BE49-F238E27FC236}">
                    <a16:creationId xmlns:a16="http://schemas.microsoft.com/office/drawing/2014/main" id="{864C3BF5-45D6-4698-8652-9BDF6A34B751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5" name="Group 5">
              <a:extLst>
                <a:ext uri="{FF2B5EF4-FFF2-40B4-BE49-F238E27FC236}">
                  <a16:creationId xmlns:a16="http://schemas.microsoft.com/office/drawing/2014/main" id="{46B6E6C5-5BDE-40D0-A011-1ABEE10023AD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32" name="Freeform 6">
                <a:extLst>
                  <a:ext uri="{FF2B5EF4-FFF2-40B4-BE49-F238E27FC236}">
                    <a16:creationId xmlns:a16="http://schemas.microsoft.com/office/drawing/2014/main" id="{6C7C1282-BA2E-4903-A381-CAF29584E3FF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6" name="Group 7">
              <a:extLst>
                <a:ext uri="{FF2B5EF4-FFF2-40B4-BE49-F238E27FC236}">
                  <a16:creationId xmlns:a16="http://schemas.microsoft.com/office/drawing/2014/main" id="{79B91CC2-7E55-4480-B4BB-BE320E96E2BC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31" name="Freeform 8">
                <a:extLst>
                  <a:ext uri="{FF2B5EF4-FFF2-40B4-BE49-F238E27FC236}">
                    <a16:creationId xmlns:a16="http://schemas.microsoft.com/office/drawing/2014/main" id="{885D579E-64D3-4564-BEA1-70040456BECF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7" name="Group 9">
              <a:extLst>
                <a:ext uri="{FF2B5EF4-FFF2-40B4-BE49-F238E27FC236}">
                  <a16:creationId xmlns:a16="http://schemas.microsoft.com/office/drawing/2014/main" id="{4A2805AC-CCD7-4244-8ED3-DF401119ECF0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30" name="Freeform 10">
                <a:extLst>
                  <a:ext uri="{FF2B5EF4-FFF2-40B4-BE49-F238E27FC236}">
                    <a16:creationId xmlns:a16="http://schemas.microsoft.com/office/drawing/2014/main" id="{E0104C6B-3010-41C8-902D-E21F6331D405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ADBF3648-13C6-4C7C-9D75-8EEFAC32761F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29" name="Freeform 12">
                <a:extLst>
                  <a:ext uri="{FF2B5EF4-FFF2-40B4-BE49-F238E27FC236}">
                    <a16:creationId xmlns:a16="http://schemas.microsoft.com/office/drawing/2014/main" id="{74C77D9D-0C4A-45C5-9542-861378EEE765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cxnSp>
        <p:nvCxnSpPr>
          <p:cNvPr id="35" name="Connecteur droit 21">
            <a:extLst>
              <a:ext uri="{FF2B5EF4-FFF2-40B4-BE49-F238E27FC236}">
                <a16:creationId xmlns:a16="http://schemas.microsoft.com/office/drawing/2014/main" id="{5749C472-EBF4-421F-91F4-06CA75977667}"/>
              </a:ext>
            </a:extLst>
          </p:cNvPr>
          <p:cNvCxnSpPr>
            <a:cxnSpLocks/>
          </p:cNvCxnSpPr>
          <p:nvPr userDrawn="1"/>
        </p:nvCxnSpPr>
        <p:spPr>
          <a:xfrm flipV="1">
            <a:off x="8537452" y="6477001"/>
            <a:ext cx="3654549" cy="15873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93056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ide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Espace réservé du texte 4">
            <a:extLst>
              <a:ext uri="{FF2B5EF4-FFF2-40B4-BE49-F238E27FC236}">
                <a16:creationId xmlns:a16="http://schemas.microsoft.com/office/drawing/2014/main" id="{31457F6D-D459-E725-646D-C9AFE4BED8E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502206" y="1244601"/>
            <a:ext cx="5183717" cy="823383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867" b="1" i="0">
                <a:latin typeface="Poppins" pitchFamily="2" charset="77"/>
                <a:cs typeface="Poppins" pitchFamily="2" charset="77"/>
              </a:defRPr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Espace réservé du contenu 5">
            <a:extLst>
              <a:ext uri="{FF2B5EF4-FFF2-40B4-BE49-F238E27FC236}">
                <a16:creationId xmlns:a16="http://schemas.microsoft.com/office/drawing/2014/main" id="{10198595-669E-5CD1-643E-C781B091C648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505884" y="2158999"/>
            <a:ext cx="5183717" cy="4031193"/>
          </a:xfrm>
          <a:prstGeom prst="rect">
            <a:avLst/>
          </a:prstGeom>
        </p:spPr>
        <p:txBody>
          <a:bodyPr/>
          <a:lstStyle>
            <a:lvl1pPr>
              <a:defRPr sz="1867" b="0" i="0">
                <a:latin typeface="Poppins Light" pitchFamily="2" charset="77"/>
                <a:cs typeface="Poppins Light" pitchFamily="2" charset="77"/>
              </a:defRPr>
            </a:lvl1pPr>
            <a:lvl2pPr>
              <a:defRPr sz="1867" b="0" i="0">
                <a:latin typeface="Poppins Light" pitchFamily="2" charset="77"/>
                <a:cs typeface="Poppins Light" pitchFamily="2" charset="77"/>
              </a:defRPr>
            </a:lvl2pPr>
            <a:lvl3pPr>
              <a:defRPr sz="1867" b="0" i="0">
                <a:latin typeface="Poppins Light" pitchFamily="2" charset="77"/>
                <a:cs typeface="Poppins Light" pitchFamily="2" charset="77"/>
              </a:defRPr>
            </a:lvl3pPr>
            <a:lvl4pPr>
              <a:defRPr sz="1867" b="0" i="0">
                <a:latin typeface="Poppins Light" pitchFamily="2" charset="77"/>
                <a:cs typeface="Poppins Light" pitchFamily="2" charset="77"/>
              </a:defRPr>
            </a:lvl4pPr>
            <a:lvl5pPr>
              <a:defRPr sz="1867" b="0" i="0"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20" name="Titre 1">
            <a:extLst>
              <a:ext uri="{FF2B5EF4-FFF2-40B4-BE49-F238E27FC236}">
                <a16:creationId xmlns:a16="http://schemas.microsoft.com/office/drawing/2014/main" id="{D6AC2CD9-5DFE-0E63-86C2-7DCC72DF82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65126"/>
            <a:ext cx="10515600" cy="777875"/>
          </a:xfrm>
          <a:prstGeom prst="rect">
            <a:avLst/>
          </a:prstGeom>
        </p:spPr>
        <p:txBody>
          <a:bodyPr/>
          <a:lstStyle>
            <a:lvl1pPr>
              <a:defRPr sz="4734" b="1" i="0">
                <a:solidFill>
                  <a:srgbClr val="292929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grpSp>
        <p:nvGrpSpPr>
          <p:cNvPr id="21" name="Groupe 20">
            <a:extLst>
              <a:ext uri="{FF2B5EF4-FFF2-40B4-BE49-F238E27FC236}">
                <a16:creationId xmlns:a16="http://schemas.microsoft.com/office/drawing/2014/main" id="{CB08C4A3-70DC-084E-18F4-3F50034EA23F}"/>
              </a:ext>
            </a:extLst>
          </p:cNvPr>
          <p:cNvGrpSpPr/>
          <p:nvPr/>
        </p:nvGrpSpPr>
        <p:grpSpPr>
          <a:xfrm rot="3608892">
            <a:off x="8948733" y="6087713"/>
            <a:ext cx="717435" cy="968494"/>
            <a:chOff x="9824704" y="-2020392"/>
            <a:chExt cx="9270979" cy="12307392"/>
          </a:xfrm>
        </p:grpSpPr>
        <p:grpSp>
          <p:nvGrpSpPr>
            <p:cNvPr id="22" name="Group 3">
              <a:extLst>
                <a:ext uri="{FF2B5EF4-FFF2-40B4-BE49-F238E27FC236}">
                  <a16:creationId xmlns:a16="http://schemas.microsoft.com/office/drawing/2014/main" id="{DDFA6BFA-2FE7-99BE-758C-9569FDDD44CD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31" name="Freeform 4">
                <a:extLst>
                  <a:ext uri="{FF2B5EF4-FFF2-40B4-BE49-F238E27FC236}">
                    <a16:creationId xmlns:a16="http://schemas.microsoft.com/office/drawing/2014/main" id="{CE46B478-2F0D-825F-BF16-2A659AFCFEE5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3" name="Group 5">
              <a:extLst>
                <a:ext uri="{FF2B5EF4-FFF2-40B4-BE49-F238E27FC236}">
                  <a16:creationId xmlns:a16="http://schemas.microsoft.com/office/drawing/2014/main" id="{E283E192-00EF-7A8E-7AD8-D22CDB268D02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30" name="Freeform 6">
                <a:extLst>
                  <a:ext uri="{FF2B5EF4-FFF2-40B4-BE49-F238E27FC236}">
                    <a16:creationId xmlns:a16="http://schemas.microsoft.com/office/drawing/2014/main" id="{90DD8469-F02C-6A43-A19C-5E64A23DEE4C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4" name="Group 7">
              <a:extLst>
                <a:ext uri="{FF2B5EF4-FFF2-40B4-BE49-F238E27FC236}">
                  <a16:creationId xmlns:a16="http://schemas.microsoft.com/office/drawing/2014/main" id="{1643DB72-1316-921F-DFE3-1006B726EA58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29" name="Freeform 8">
                <a:extLst>
                  <a:ext uri="{FF2B5EF4-FFF2-40B4-BE49-F238E27FC236}">
                    <a16:creationId xmlns:a16="http://schemas.microsoft.com/office/drawing/2014/main" id="{2FE68160-19F0-F1F0-B9C4-3C0FD6E8BC67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5" name="Group 9">
              <a:extLst>
                <a:ext uri="{FF2B5EF4-FFF2-40B4-BE49-F238E27FC236}">
                  <a16:creationId xmlns:a16="http://schemas.microsoft.com/office/drawing/2014/main" id="{2EE0AB81-F1DD-0DB6-2D0B-34FFABF60A43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28" name="Freeform 10">
                <a:extLst>
                  <a:ext uri="{FF2B5EF4-FFF2-40B4-BE49-F238E27FC236}">
                    <a16:creationId xmlns:a16="http://schemas.microsoft.com/office/drawing/2014/main" id="{2B4CB59E-473B-02BD-E5D1-80EEE7B1CF0D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26" name="Group 11">
              <a:extLst>
                <a:ext uri="{FF2B5EF4-FFF2-40B4-BE49-F238E27FC236}">
                  <a16:creationId xmlns:a16="http://schemas.microsoft.com/office/drawing/2014/main" id="{3287D850-881C-13A4-F56F-ABD12F4C26F4}"/>
                </a:ext>
              </a:extLst>
            </p:cNvPr>
            <p:cNvGrpSpPr>
              <a:grpSpLocks noChangeAspect="1"/>
            </p:cNvGrpSpPr>
            <p:nvPr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27" name="Freeform 12">
                <a:extLst>
                  <a:ext uri="{FF2B5EF4-FFF2-40B4-BE49-F238E27FC236}">
                    <a16:creationId xmlns:a16="http://schemas.microsoft.com/office/drawing/2014/main" id="{3E417AFC-2CF8-8F7F-1F6D-7F7632F3DDF2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sp>
        <p:nvSpPr>
          <p:cNvPr id="32" name="ZoneTexte 31">
            <a:extLst>
              <a:ext uri="{FF2B5EF4-FFF2-40B4-BE49-F238E27FC236}">
                <a16:creationId xmlns:a16="http://schemas.microsoft.com/office/drawing/2014/main" id="{6FEC2391-8F45-61C5-416A-6F010BFAB883}"/>
              </a:ext>
            </a:extLst>
          </p:cNvPr>
          <p:cNvSpPr txBox="1"/>
          <p:nvPr/>
        </p:nvSpPr>
        <p:spPr>
          <a:xfrm>
            <a:off x="9804400" y="6535579"/>
            <a:ext cx="184164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latin typeface="Poppins" pitchFamily="2" charset="77"/>
                <a:cs typeface="Poppins" pitchFamily="2" charset="77"/>
              </a:rPr>
              <a:t>Formation Complète</a:t>
            </a:r>
          </a:p>
        </p:txBody>
      </p:sp>
      <p:cxnSp>
        <p:nvCxnSpPr>
          <p:cNvPr id="33" name="Connecteur droit 32">
            <a:extLst>
              <a:ext uri="{FF2B5EF4-FFF2-40B4-BE49-F238E27FC236}">
                <a16:creationId xmlns:a16="http://schemas.microsoft.com/office/drawing/2014/main" id="{C7CA92CD-6A87-549B-196E-D39AEE96F3AB}"/>
              </a:ext>
            </a:extLst>
          </p:cNvPr>
          <p:cNvCxnSpPr>
            <a:cxnSpLocks/>
          </p:cNvCxnSpPr>
          <p:nvPr/>
        </p:nvCxnSpPr>
        <p:spPr>
          <a:xfrm>
            <a:off x="8711951" y="6477000"/>
            <a:ext cx="3480049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Espace réservé pour une image  3">
            <a:extLst>
              <a:ext uri="{FF2B5EF4-FFF2-40B4-BE49-F238E27FC236}">
                <a16:creationId xmlns:a16="http://schemas.microsoft.com/office/drawing/2014/main" id="{7117B56B-855E-289E-32EB-376310D2D65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969000" y="1244600"/>
            <a:ext cx="5511801" cy="494559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fr-FR"/>
          </a:p>
        </p:txBody>
      </p:sp>
      <p:grpSp>
        <p:nvGrpSpPr>
          <p:cNvPr id="35" name="Groupe 20">
            <a:extLst>
              <a:ext uri="{FF2B5EF4-FFF2-40B4-BE49-F238E27FC236}">
                <a16:creationId xmlns:a16="http://schemas.microsoft.com/office/drawing/2014/main" id="{478EA35C-8E60-4A6F-AD34-06C346E0E9DC}"/>
              </a:ext>
            </a:extLst>
          </p:cNvPr>
          <p:cNvGrpSpPr/>
          <p:nvPr userDrawn="1"/>
        </p:nvGrpSpPr>
        <p:grpSpPr>
          <a:xfrm rot="3608892">
            <a:off x="8948733" y="6087713"/>
            <a:ext cx="717435" cy="968494"/>
            <a:chOff x="9824704" y="-2020392"/>
            <a:chExt cx="9270979" cy="12307392"/>
          </a:xfrm>
        </p:grpSpPr>
        <p:grpSp>
          <p:nvGrpSpPr>
            <p:cNvPr id="36" name="Group 3">
              <a:extLst>
                <a:ext uri="{FF2B5EF4-FFF2-40B4-BE49-F238E27FC236}">
                  <a16:creationId xmlns:a16="http://schemas.microsoft.com/office/drawing/2014/main" id="{1589983F-4637-43BF-9129-72889759EF48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9824704" y="6587112"/>
              <a:ext cx="4302195" cy="3699888"/>
              <a:chOff x="0" y="0"/>
              <a:chExt cx="6350000" cy="5461000"/>
            </a:xfrm>
          </p:grpSpPr>
          <p:sp>
            <p:nvSpPr>
              <p:cNvPr id="45" name="Freeform 4">
                <a:extLst>
                  <a:ext uri="{FF2B5EF4-FFF2-40B4-BE49-F238E27FC236}">
                    <a16:creationId xmlns:a16="http://schemas.microsoft.com/office/drawing/2014/main" id="{4BF748F0-FD1D-462E-8A17-42BB7DA902E2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2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7" name="Group 5">
              <a:extLst>
                <a:ext uri="{FF2B5EF4-FFF2-40B4-BE49-F238E27FC236}">
                  <a16:creationId xmlns:a16="http://schemas.microsoft.com/office/drawing/2014/main" id="{EFC4E96A-54C2-4484-B8D5-12E5BA8198A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77919" y="2232299"/>
              <a:ext cx="4302195" cy="3699888"/>
              <a:chOff x="0" y="0"/>
              <a:chExt cx="6350000" cy="5461000"/>
            </a:xfrm>
          </p:grpSpPr>
          <p:sp>
            <p:nvSpPr>
              <p:cNvPr id="44" name="Freeform 6">
                <a:extLst>
                  <a:ext uri="{FF2B5EF4-FFF2-40B4-BE49-F238E27FC236}">
                    <a16:creationId xmlns:a16="http://schemas.microsoft.com/office/drawing/2014/main" id="{477F6425-DFFE-43E8-B815-EEA4FF765DB6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3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8" name="Group 7">
              <a:extLst>
                <a:ext uri="{FF2B5EF4-FFF2-40B4-BE49-F238E27FC236}">
                  <a16:creationId xmlns:a16="http://schemas.microsoft.com/office/drawing/2014/main" id="{4D654E09-182F-4037-8D49-08BBF3DDCC1A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4793488" y="-2020392"/>
              <a:ext cx="4302195" cy="3699888"/>
              <a:chOff x="0" y="0"/>
              <a:chExt cx="6350000" cy="5461000"/>
            </a:xfrm>
          </p:grpSpPr>
          <p:sp>
            <p:nvSpPr>
              <p:cNvPr id="43" name="Freeform 8">
                <a:extLst>
                  <a:ext uri="{FF2B5EF4-FFF2-40B4-BE49-F238E27FC236}">
                    <a16:creationId xmlns:a16="http://schemas.microsoft.com/office/drawing/2014/main" id="{A7068070-8F55-48AB-85BD-36BBC4089F14}"/>
                  </a:ext>
                </a:extLst>
              </p:cNvPr>
              <p:cNvSpPr/>
              <p:nvPr/>
            </p:nvSpPr>
            <p:spPr>
              <a:xfrm>
                <a:off x="59563" y="32385"/>
                <a:ext cx="6230874" cy="5396230"/>
              </a:xfrm>
              <a:custGeom>
                <a:avLst/>
                <a:gdLst/>
                <a:ahLst/>
                <a:cxnLst/>
                <a:rect l="l" t="t" r="r" b="b"/>
                <a:pathLst>
                  <a:path w="6230874" h="5396230">
                    <a:moveTo>
                      <a:pt x="3115437" y="0"/>
                    </a:moveTo>
                    <a:lnTo>
                      <a:pt x="0" y="5396230"/>
                    </a:lnTo>
                    <a:lnTo>
                      <a:pt x="6230874" y="5396230"/>
                    </a:lnTo>
                    <a:close/>
                  </a:path>
                </a:pathLst>
              </a:custGeom>
              <a:blipFill>
                <a:blip r:embed="rId4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39" name="Group 9">
              <a:extLst>
                <a:ext uri="{FF2B5EF4-FFF2-40B4-BE49-F238E27FC236}">
                  <a16:creationId xmlns:a16="http://schemas.microsoft.com/office/drawing/2014/main" id="{71FD5FC3-895A-40CB-A11E-77CE78A2C3C3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2177919" y="6266409"/>
              <a:ext cx="4272388" cy="3699888"/>
              <a:chOff x="0" y="0"/>
              <a:chExt cx="6350000" cy="5499100"/>
            </a:xfrm>
          </p:grpSpPr>
          <p:sp>
            <p:nvSpPr>
              <p:cNvPr id="42" name="Freeform 10">
                <a:extLst>
                  <a:ext uri="{FF2B5EF4-FFF2-40B4-BE49-F238E27FC236}">
                    <a16:creationId xmlns:a16="http://schemas.microsoft.com/office/drawing/2014/main" id="{BC2F9E8F-FC58-4968-9008-3B00B3C8AF12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  <p:grpSp>
          <p:nvGrpSpPr>
            <p:cNvPr id="40" name="Group 11">
              <a:extLst>
                <a:ext uri="{FF2B5EF4-FFF2-40B4-BE49-F238E27FC236}">
                  <a16:creationId xmlns:a16="http://schemas.microsoft.com/office/drawing/2014/main" id="{0B9FB7AA-2E1A-46F5-8007-3FDAF1AD1BFB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14591633" y="2012871"/>
              <a:ext cx="4272388" cy="3699888"/>
              <a:chOff x="0" y="0"/>
              <a:chExt cx="6350000" cy="5499100"/>
            </a:xfrm>
          </p:grpSpPr>
          <p:sp>
            <p:nvSpPr>
              <p:cNvPr id="41" name="Freeform 12">
                <a:extLst>
                  <a:ext uri="{FF2B5EF4-FFF2-40B4-BE49-F238E27FC236}">
                    <a16:creationId xmlns:a16="http://schemas.microsoft.com/office/drawing/2014/main" id="{00116D8C-306F-479B-9820-AC099721FF57}"/>
                  </a:ext>
                </a:extLst>
              </p:cNvPr>
              <p:cNvSpPr/>
              <p:nvPr/>
            </p:nvSpPr>
            <p:spPr>
              <a:xfrm>
                <a:off x="0" y="0"/>
                <a:ext cx="6350000" cy="5499100"/>
              </a:xfrm>
              <a:custGeom>
                <a:avLst/>
                <a:gdLst/>
                <a:ahLst/>
                <a:cxnLst/>
                <a:rect l="l" t="t" r="r" b="b"/>
                <a:pathLst>
                  <a:path w="6350000" h="5499100">
                    <a:moveTo>
                      <a:pt x="3175000" y="0"/>
                    </a:moveTo>
                    <a:lnTo>
                      <a:pt x="0" y="0"/>
                    </a:lnTo>
                    <a:lnTo>
                      <a:pt x="1587500" y="2749550"/>
                    </a:lnTo>
                    <a:lnTo>
                      <a:pt x="3175000" y="5499100"/>
                    </a:lnTo>
                    <a:lnTo>
                      <a:pt x="4762500" y="2749550"/>
                    </a:lnTo>
                    <a:lnTo>
                      <a:pt x="6350000" y="0"/>
                    </a:lnTo>
                    <a:close/>
                  </a:path>
                </a:pathLst>
              </a:custGeom>
              <a:blipFill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</p:spPr>
          </p:sp>
        </p:grpSp>
      </p:grpSp>
      <p:cxnSp>
        <p:nvCxnSpPr>
          <p:cNvPr id="47" name="Connecteur droit 32">
            <a:extLst>
              <a:ext uri="{FF2B5EF4-FFF2-40B4-BE49-F238E27FC236}">
                <a16:creationId xmlns:a16="http://schemas.microsoft.com/office/drawing/2014/main" id="{43B2C7BE-B630-4CBD-89F9-011885FAA7C0}"/>
              </a:ext>
            </a:extLst>
          </p:cNvPr>
          <p:cNvCxnSpPr>
            <a:cxnSpLocks/>
          </p:cNvCxnSpPr>
          <p:nvPr userDrawn="1"/>
        </p:nvCxnSpPr>
        <p:spPr>
          <a:xfrm>
            <a:off x="8711951" y="6477000"/>
            <a:ext cx="3480049" cy="1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132922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2">
    <p:bg>
      <p:bgPr>
        <a:solidFill>
          <a:srgbClr val="0B81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4E9C2699-AC7A-E9E6-7BA2-B178F4AB02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3600" y="1122892"/>
            <a:ext cx="9804400" cy="2387600"/>
          </a:xfrm>
          <a:prstGeom prst="rect">
            <a:avLst/>
          </a:prstGeom>
        </p:spPr>
        <p:txBody>
          <a:bodyPr anchor="b"/>
          <a:lstStyle>
            <a:lvl1pPr algn="l">
              <a:defRPr sz="64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115A4625-51AA-B632-6852-324A2C3FE561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Formation Complèt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A5FF4C7F-E857-B170-8567-5B89E8D8AAAF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9">
            <a:extLst>
              <a:ext uri="{FF2B5EF4-FFF2-40B4-BE49-F238E27FC236}">
                <a16:creationId xmlns:a16="http://schemas.microsoft.com/office/drawing/2014/main" id="{AC733A90-1D3D-4E91-8791-4DBB5593C10B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4323488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4">
    <p:bg>
      <p:bgPr>
        <a:solidFill>
          <a:srgbClr val="2A99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6A6B0116-D034-7B82-665D-3BB36B4BCC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889000"/>
            <a:ext cx="8566150" cy="557741"/>
          </a:xfrm>
          <a:prstGeom prst="rect">
            <a:avLst/>
          </a:prstGeom>
        </p:spPr>
        <p:txBody>
          <a:bodyPr anchor="b"/>
          <a:lstStyle>
            <a:lvl1pPr algn="ctr">
              <a:defRPr sz="2400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8FFCA881-C301-6987-35A4-2D7A1F0D048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473200" y="1614336"/>
            <a:ext cx="7924801" cy="44306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1pPr>
            <a:lvl2pPr marL="304815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C220643-49B0-404B-2FFB-A4E3A84C403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p:blipFill>
        <p:spPr>
          <a:xfrm flipH="1">
            <a:off x="5576444" y="3281588"/>
            <a:ext cx="7853771" cy="3455659"/>
          </a:xfrm>
          <a:prstGeom prst="rect">
            <a:avLst/>
          </a:prstGeom>
        </p:spPr>
      </p:pic>
      <p:sp>
        <p:nvSpPr>
          <p:cNvPr id="9" name="Espace réservé du texte 8">
            <a:extLst>
              <a:ext uri="{FF2B5EF4-FFF2-40B4-BE49-F238E27FC236}">
                <a16:creationId xmlns:a16="http://schemas.microsoft.com/office/drawing/2014/main" id="{BBA06323-73C3-F075-50C6-5AFDD66F3B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636000" y="2921000"/>
            <a:ext cx="3403600" cy="1117600"/>
          </a:xfrm>
          <a:prstGeom prst="rect">
            <a:avLst/>
          </a:prstGeom>
        </p:spPr>
        <p:txBody>
          <a:bodyPr/>
          <a:lstStyle>
            <a:lvl1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1pPr>
            <a:lvl2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2pPr>
            <a:lvl3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3pPr>
            <a:lvl4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4pPr>
            <a:lvl5pPr>
              <a:defRPr sz="2133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1" name="Espace réservé du texte 10">
            <a:extLst>
              <a:ext uri="{FF2B5EF4-FFF2-40B4-BE49-F238E27FC236}">
                <a16:creationId xmlns:a16="http://schemas.microsoft.com/office/drawing/2014/main" id="{71A552A1-A49E-3667-80E6-812C54F8218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31850" y="2921000"/>
            <a:ext cx="4400550" cy="2844496"/>
          </a:xfrm>
          <a:prstGeom prst="rect">
            <a:avLst/>
          </a:prstGeom>
        </p:spPr>
        <p:txBody>
          <a:bodyPr/>
          <a:lstStyle>
            <a:lvl1pPr>
              <a:defRPr sz="2133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  <a:lvl2pPr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2pPr>
            <a:lvl3pPr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3pPr>
            <a:lvl4pPr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4pPr>
            <a:lvl5pPr>
              <a:defRPr sz="2133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53EAF698-867A-AA72-A3B9-C2FA8904A453}"/>
              </a:ext>
            </a:extLst>
          </p:cNvPr>
          <p:cNvSpPr txBox="1"/>
          <p:nvPr userDrawn="1"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Formation Complète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:a16="http://schemas.microsoft.com/office/drawing/2014/main" id="{B980B541-87FF-6818-C5EF-62E1E62893EF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6">
            <a:extLst>
              <a:ext uri="{FF2B5EF4-FFF2-40B4-BE49-F238E27FC236}">
                <a16:creationId xmlns:a16="http://schemas.microsoft.com/office/drawing/2014/main" id="{F7180E06-7FE9-4833-996C-2E88F2879DE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p:blipFill>
        <p:spPr>
          <a:xfrm flipH="1">
            <a:off x="5576444" y="3281588"/>
            <a:ext cx="7853771" cy="3455659"/>
          </a:xfrm>
          <a:prstGeom prst="rect">
            <a:avLst/>
          </a:prstGeom>
        </p:spPr>
      </p:pic>
      <p:cxnSp>
        <p:nvCxnSpPr>
          <p:cNvPr id="15" name="Connecteur droit 12">
            <a:extLst>
              <a:ext uri="{FF2B5EF4-FFF2-40B4-BE49-F238E27FC236}">
                <a16:creationId xmlns:a16="http://schemas.microsoft.com/office/drawing/2014/main" id="{E32CBB25-74E7-4D31-AC37-0E273B9EE49D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400234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lide 7">
    <p:bg>
      <p:bgPr>
        <a:solidFill>
          <a:srgbClr val="FDD9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029B772-47FA-A598-5C21-372863AB2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128763"/>
            <a:ext cx="9271000" cy="1326091"/>
          </a:xfrm>
          <a:prstGeom prst="rect">
            <a:avLst/>
          </a:prstGeom>
        </p:spPr>
        <p:txBody>
          <a:bodyPr/>
          <a:lstStyle>
            <a:lvl1pPr algn="ctr">
              <a:defRPr sz="8000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9654D700-40AB-67FB-A664-06EABDDA417D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Formation Complèt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:a16="http://schemas.microsoft.com/office/drawing/2014/main" id="{7070B578-4E2A-E210-3400-AB221B8B7B7D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9">
            <a:extLst>
              <a:ext uri="{FF2B5EF4-FFF2-40B4-BE49-F238E27FC236}">
                <a16:creationId xmlns:a16="http://schemas.microsoft.com/office/drawing/2014/main" id="{BD36A3D9-E296-4E03-BC20-595B36375D22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0812396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8">
    <p:bg>
      <p:bgPr>
        <a:solidFill>
          <a:srgbClr val="FC7A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9B178F2-1499-D8A5-397B-450410B15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457200"/>
            <a:ext cx="10081683" cy="787400"/>
          </a:xfrm>
          <a:prstGeom prst="rect">
            <a:avLst/>
          </a:prstGeom>
        </p:spPr>
        <p:txBody>
          <a:bodyPr anchor="b"/>
          <a:lstStyle>
            <a:lvl1pPr>
              <a:defRPr sz="4467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12B305B0-6FF4-8121-C0C8-F8A11F3E94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40317" y="1549400"/>
            <a:ext cx="10515600" cy="4311650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1pPr>
            <a:lvl2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2pPr>
            <a:lvl3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3pPr>
            <a:lvl4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4pPr>
            <a:lvl5pPr>
              <a:lnSpc>
                <a:spcPct val="100000"/>
              </a:lnSpc>
              <a:defRPr sz="1867" b="0" i="0">
                <a:solidFill>
                  <a:schemeClr val="bg1"/>
                </a:solidFill>
                <a:latin typeface="Poppins Light" pitchFamily="2" charset="77"/>
                <a:cs typeface="Poppins Light" pitchFamily="2" charset="77"/>
              </a:defRPr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240841F2-E156-7087-C5E5-65CFD62F7B23}"/>
              </a:ext>
            </a:extLst>
          </p:cNvPr>
          <p:cNvGrpSpPr/>
          <p:nvPr/>
        </p:nvGrpSpPr>
        <p:grpSpPr>
          <a:xfrm>
            <a:off x="6691079" y="0"/>
            <a:ext cx="5500921" cy="6909709"/>
            <a:chOff x="0" y="0"/>
            <a:chExt cx="11001842" cy="13819417"/>
          </a:xfrm>
        </p:grpSpPr>
        <p:pic>
          <p:nvPicPr>
            <p:cNvPr id="9" name="Picture 3">
              <a:extLst>
                <a:ext uri="{FF2B5EF4-FFF2-40B4-BE49-F238E27FC236}">
                  <a16:creationId xmlns:a16="http://schemas.microsoft.com/office/drawing/2014/main" id="{AE00EE06-6848-ACF3-C5A9-593CF19C0EE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alphaModFix amt="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194" r="10194"/>
            <a:stretch>
              <a:fillRect/>
            </a:stretch>
          </p:blipFill>
          <p:spPr>
            <a:xfrm>
              <a:off x="0" y="0"/>
              <a:ext cx="11001842" cy="13819417"/>
            </a:xfrm>
            <a:prstGeom prst="rect">
              <a:avLst/>
            </a:prstGeom>
          </p:spPr>
        </p:pic>
      </p:grpSp>
      <p:sp>
        <p:nvSpPr>
          <p:cNvPr id="10" name="ZoneTexte 9">
            <a:extLst>
              <a:ext uri="{FF2B5EF4-FFF2-40B4-BE49-F238E27FC236}">
                <a16:creationId xmlns:a16="http://schemas.microsoft.com/office/drawing/2014/main" id="{D01408C3-EE6B-65AE-8C0F-A04C9FF29190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Formation Complèt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F23883E3-AFF2-3F0D-FE24-5D37432AA8B8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Group 2">
            <a:extLst>
              <a:ext uri="{FF2B5EF4-FFF2-40B4-BE49-F238E27FC236}">
                <a16:creationId xmlns:a16="http://schemas.microsoft.com/office/drawing/2014/main" id="{2997214C-0738-455A-8BC3-8F22C66AFAF2}"/>
              </a:ext>
            </a:extLst>
          </p:cNvPr>
          <p:cNvGrpSpPr/>
          <p:nvPr userDrawn="1"/>
        </p:nvGrpSpPr>
        <p:grpSpPr>
          <a:xfrm>
            <a:off x="6691079" y="0"/>
            <a:ext cx="5500921" cy="6909709"/>
            <a:chOff x="0" y="0"/>
            <a:chExt cx="11001842" cy="13819417"/>
          </a:xfrm>
        </p:grpSpPr>
        <p:pic>
          <p:nvPicPr>
            <p:cNvPr id="13" name="Picture 3">
              <a:extLst>
                <a:ext uri="{FF2B5EF4-FFF2-40B4-BE49-F238E27FC236}">
                  <a16:creationId xmlns:a16="http://schemas.microsoft.com/office/drawing/2014/main" id="{8D402436-BB8A-4B96-AEBD-0FD72F59851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alphaModFix amt="5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10194" r="10194"/>
            <a:stretch>
              <a:fillRect/>
            </a:stretch>
          </p:blipFill>
          <p:spPr>
            <a:xfrm>
              <a:off x="0" y="0"/>
              <a:ext cx="11001842" cy="13819417"/>
            </a:xfrm>
            <a:prstGeom prst="rect">
              <a:avLst/>
            </a:prstGeom>
          </p:spPr>
        </p:pic>
      </p:grpSp>
      <p:cxnSp>
        <p:nvCxnSpPr>
          <p:cNvPr id="15" name="Connecteur droit 10">
            <a:extLst>
              <a:ext uri="{FF2B5EF4-FFF2-40B4-BE49-F238E27FC236}">
                <a16:creationId xmlns:a16="http://schemas.microsoft.com/office/drawing/2014/main" id="{C0CD0A30-A1AC-4DD4-83E8-81FEDF4EF16B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059170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0">
    <p:bg>
      <p:bgPr>
        <a:solidFill>
          <a:srgbClr val="032B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DAF6950B-7896-288A-ED29-1588D0A3A9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6091"/>
          </a:xfrm>
          <a:prstGeom prst="rect">
            <a:avLst/>
          </a:prstGeom>
        </p:spPr>
        <p:txBody>
          <a:bodyPr/>
          <a:lstStyle>
            <a:lvl1pPr>
              <a:defRPr sz="3067" b="1" i="0">
                <a:solidFill>
                  <a:schemeClr val="bg1"/>
                </a:solidFill>
                <a:latin typeface="Poppins" pitchFamily="2" charset="77"/>
                <a:cs typeface="Poppins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graphicFrame>
        <p:nvGraphicFramePr>
          <p:cNvPr id="9" name="Table 4">
            <a:extLst>
              <a:ext uri="{FF2B5EF4-FFF2-40B4-BE49-F238E27FC236}">
                <a16:creationId xmlns:a16="http://schemas.microsoft.com/office/drawing/2014/main" id="{6DFED5E4-06C4-7DE1-A8E8-D6EEA6D6B8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1874895"/>
              </p:ext>
            </p:extLst>
          </p:nvPr>
        </p:nvGraphicFramePr>
        <p:xfrm>
          <a:off x="851747" y="2209799"/>
          <a:ext cx="6311055" cy="3606796"/>
        </p:xfrm>
        <a:graphic>
          <a:graphicData uri="http://schemas.openxmlformats.org/drawingml/2006/table">
            <a:tbl>
              <a:tblPr/>
              <a:tblGrid>
                <a:gridCol w="2103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10" name="ZoneTexte 9">
            <a:extLst>
              <a:ext uri="{FF2B5EF4-FFF2-40B4-BE49-F238E27FC236}">
                <a16:creationId xmlns:a16="http://schemas.microsoft.com/office/drawing/2014/main" id="{480B95F7-2882-9421-5183-9ACD82FCCF02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Formation Complète</a:t>
            </a:r>
            <a:endParaRPr lang="fr-FR" sz="1200" dirty="0">
              <a:solidFill>
                <a:schemeClr val="bg1"/>
              </a:solidFill>
              <a:latin typeface="Poppins" pitchFamily="2" charset="77"/>
              <a:cs typeface="Poppins" pitchFamily="2" charset="77"/>
            </a:endParaRPr>
          </a:p>
        </p:txBody>
      </p:sp>
      <p:cxnSp>
        <p:nvCxnSpPr>
          <p:cNvPr id="12" name="Connecteur droit 11">
            <a:extLst>
              <a:ext uri="{FF2B5EF4-FFF2-40B4-BE49-F238E27FC236}">
                <a16:creationId xmlns:a16="http://schemas.microsoft.com/office/drawing/2014/main" id="{5138751E-9A12-2F27-0AF8-61120BED506E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Table 4">
            <a:extLst>
              <a:ext uri="{FF2B5EF4-FFF2-40B4-BE49-F238E27FC236}">
                <a16:creationId xmlns:a16="http://schemas.microsoft.com/office/drawing/2014/main" id="{15212B4F-30F0-4005-A57D-8A1015D19683}"/>
              </a:ext>
            </a:extLst>
          </p:cNvPr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11784454"/>
              </p:ext>
            </p:extLst>
          </p:nvPr>
        </p:nvGraphicFramePr>
        <p:xfrm>
          <a:off x="851747" y="2209799"/>
          <a:ext cx="6311055" cy="3606796"/>
        </p:xfrm>
        <a:graphic>
          <a:graphicData uri="http://schemas.openxmlformats.org/drawingml/2006/table">
            <a:tbl>
              <a:tblPr/>
              <a:tblGrid>
                <a:gridCol w="21036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0368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901699">
                <a:tc>
                  <a:txBody>
                    <a:bodyPr/>
                    <a:lstStyle/>
                    <a:p>
                      <a:pPr algn="ctr">
                        <a:defRPr/>
                      </a:pPr>
                      <a:endParaRPr lang="en-US" sz="7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fr-FR" sz="800"/>
                    </a:p>
                  </a:txBody>
                  <a:tcPr marL="60960" marR="60960" marT="30480" marB="30480"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cxnSp>
        <p:nvCxnSpPr>
          <p:cNvPr id="8" name="Connecteur droit 11">
            <a:extLst>
              <a:ext uri="{FF2B5EF4-FFF2-40B4-BE49-F238E27FC236}">
                <a16:creationId xmlns:a16="http://schemas.microsoft.com/office/drawing/2014/main" id="{6801A306-D99E-4A67-A5F9-FC86007D93DF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14175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EBDDB-5E00-40A9-9DC2-66EFF7615A7F}" type="datetime1">
              <a:rPr lang="en-US" smtClean="0"/>
              <a:t>7/22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84A28-5CFC-4064-84AD-8427685188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657681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2">
    <p:bg>
      <p:bgPr>
        <a:solidFill>
          <a:srgbClr val="0B81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>
            <a:extLst>
              <a:ext uri="{FF2B5EF4-FFF2-40B4-BE49-F238E27FC236}">
                <a16:creationId xmlns:a16="http://schemas.microsoft.com/office/drawing/2014/main" id="{E78E7117-4A1C-F4A2-EB4A-6283B155A0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311401"/>
            <a:ext cx="10515600" cy="1326091"/>
          </a:xfrm>
          <a:prstGeom prst="rect">
            <a:avLst/>
          </a:prstGeom>
        </p:spPr>
        <p:txBody>
          <a:bodyPr/>
          <a:lstStyle>
            <a:lvl1pPr>
              <a:defRPr sz="8000" b="1" i="0">
                <a:solidFill>
                  <a:schemeClr val="bg1"/>
                </a:solidFill>
                <a:latin typeface="Poppins ExtraBold" pitchFamily="2" charset="77"/>
                <a:cs typeface="Poppins ExtraBold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91024A51-4193-8BB3-18C3-A7275B277A5F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Formation Complète</a:t>
            </a:r>
          </a:p>
        </p:txBody>
      </p:sp>
      <p:cxnSp>
        <p:nvCxnSpPr>
          <p:cNvPr id="11" name="Connecteur droit 10">
            <a:extLst>
              <a:ext uri="{FF2B5EF4-FFF2-40B4-BE49-F238E27FC236}">
                <a16:creationId xmlns:a16="http://schemas.microsoft.com/office/drawing/2014/main" id="{6F7FC030-F010-B63C-5B90-9A3FD0605712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Connecteur droit 10">
            <a:extLst>
              <a:ext uri="{FF2B5EF4-FFF2-40B4-BE49-F238E27FC236}">
                <a16:creationId xmlns:a16="http://schemas.microsoft.com/office/drawing/2014/main" id="{40285514-FF2D-4778-AD88-1B6AAED0D925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7353440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3">
    <p:bg>
      <p:bgPr>
        <a:solidFill>
          <a:srgbClr val="FDD92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62C4CCC0-C8FF-3E89-EB2A-894261FB92FE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77B3945E-3250-1619-AD6C-D3FA26DE97C6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3">
            <a:extLst>
              <a:ext uri="{FF2B5EF4-FFF2-40B4-BE49-F238E27FC236}">
                <a16:creationId xmlns:a16="http://schemas.microsoft.com/office/drawing/2014/main" id="{698D1918-A606-45EB-AB6E-473F5D2E6FCF}"/>
              </a:ext>
            </a:extLst>
          </p:cNvPr>
          <p:cNvSpPr txBox="1"/>
          <p:nvPr userDrawn="1"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7" name="Connecteur droit 4">
            <a:extLst>
              <a:ext uri="{FF2B5EF4-FFF2-40B4-BE49-F238E27FC236}">
                <a16:creationId xmlns:a16="http://schemas.microsoft.com/office/drawing/2014/main" id="{5648A5C3-764F-4FF6-A883-08BC19DA8E40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205811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4">
    <p:bg>
      <p:bgPr>
        <a:solidFill>
          <a:srgbClr val="FC7A1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086DE16B-331B-EF9B-D63D-78B4178B23B4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Formation Complète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F0333726-0B94-FE93-A8C7-FFCD9A29A6EE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4">
            <a:extLst>
              <a:ext uri="{FF2B5EF4-FFF2-40B4-BE49-F238E27FC236}">
                <a16:creationId xmlns:a16="http://schemas.microsoft.com/office/drawing/2014/main" id="{51876523-A5BD-4FD3-B4C4-F3528541B2AA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139795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5">
    <p:bg>
      <p:bgPr>
        <a:solidFill>
          <a:srgbClr val="2A99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F4249773-7829-2639-CAD4-53A89902C226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Formation Complète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EC69D02E-10EE-ED47-32D3-E99071AB4317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eur droit 4">
            <a:extLst>
              <a:ext uri="{FF2B5EF4-FFF2-40B4-BE49-F238E27FC236}">
                <a16:creationId xmlns:a16="http://schemas.microsoft.com/office/drawing/2014/main" id="{0F9FA888-967F-4C13-9AF2-031A4BF5E147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098103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6">
    <p:bg>
      <p:bgPr>
        <a:solidFill>
          <a:srgbClr val="032B4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oneTexte 1">
            <a:extLst>
              <a:ext uri="{FF2B5EF4-FFF2-40B4-BE49-F238E27FC236}">
                <a16:creationId xmlns:a16="http://schemas.microsoft.com/office/drawing/2014/main" id="{72628781-542C-9F56-75E5-5734B283FF86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Formation Complète</a:t>
            </a:r>
          </a:p>
        </p:txBody>
      </p:sp>
      <p:cxnSp>
        <p:nvCxnSpPr>
          <p:cNvPr id="3" name="Connecteur droit 2">
            <a:extLst>
              <a:ext uri="{FF2B5EF4-FFF2-40B4-BE49-F238E27FC236}">
                <a16:creationId xmlns:a16="http://schemas.microsoft.com/office/drawing/2014/main" id="{893CBE26-6BFA-8EAA-053B-D984FBA72D37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eur droit 2">
            <a:extLst>
              <a:ext uri="{FF2B5EF4-FFF2-40B4-BE49-F238E27FC236}">
                <a16:creationId xmlns:a16="http://schemas.microsoft.com/office/drawing/2014/main" id="{0D5A5CCE-16D0-4145-B792-281F652C08C8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933344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17">
    <p:bg>
      <p:bgPr>
        <a:solidFill>
          <a:srgbClr val="0B81D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oneTexte 3">
            <a:extLst>
              <a:ext uri="{FF2B5EF4-FFF2-40B4-BE49-F238E27FC236}">
                <a16:creationId xmlns:a16="http://schemas.microsoft.com/office/drawing/2014/main" id="{75E1A3A1-851F-BB41-DAB8-E35A550A7220}"/>
              </a:ext>
            </a:extLst>
          </p:cNvPr>
          <p:cNvSpPr txBox="1"/>
          <p:nvPr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5" name="Connecteur droit 4">
            <a:extLst>
              <a:ext uri="{FF2B5EF4-FFF2-40B4-BE49-F238E27FC236}">
                <a16:creationId xmlns:a16="http://schemas.microsoft.com/office/drawing/2014/main" id="{CB195B3F-6D64-5BD4-0B1F-27212A1C1A06}"/>
              </a:ext>
            </a:extLst>
          </p:cNvPr>
          <p:cNvCxnSpPr/>
          <p:nvPr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ZoneTexte 3">
            <a:extLst>
              <a:ext uri="{FF2B5EF4-FFF2-40B4-BE49-F238E27FC236}">
                <a16:creationId xmlns:a16="http://schemas.microsoft.com/office/drawing/2014/main" id="{04BC2742-A355-4148-895C-AA56F17466AC}"/>
              </a:ext>
            </a:extLst>
          </p:cNvPr>
          <p:cNvSpPr txBox="1"/>
          <p:nvPr userDrawn="1"/>
        </p:nvSpPr>
        <p:spPr>
          <a:xfrm>
            <a:off x="101600" y="6535579"/>
            <a:ext cx="4013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fr-FR" sz="1200">
                <a:solidFill>
                  <a:schemeClr val="bg1"/>
                </a:solidFill>
                <a:latin typeface="Poppins" pitchFamily="2" charset="77"/>
                <a:cs typeface="Poppins" pitchFamily="2" charset="77"/>
              </a:rPr>
              <a:t>Comprehensive Training 2022</a:t>
            </a:r>
          </a:p>
        </p:txBody>
      </p:sp>
      <p:cxnSp>
        <p:nvCxnSpPr>
          <p:cNvPr id="7" name="Connecteur droit 4">
            <a:extLst>
              <a:ext uri="{FF2B5EF4-FFF2-40B4-BE49-F238E27FC236}">
                <a16:creationId xmlns:a16="http://schemas.microsoft.com/office/drawing/2014/main" id="{312CF02E-AE59-4BFF-A703-2DA5C9DFB5DE}"/>
              </a:ext>
            </a:extLst>
          </p:cNvPr>
          <p:cNvCxnSpPr/>
          <p:nvPr userDrawn="1"/>
        </p:nvCxnSpPr>
        <p:spPr>
          <a:xfrm>
            <a:off x="-50800" y="6492874"/>
            <a:ext cx="44196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538316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8B1C91-0D83-4C2B-B316-66A06BE2D5F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F9CCC8-EF0B-48DC-B73F-302E70ABFB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81BEF26-76E1-4E07-8601-5012306C6DA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24923-A3BB-4224-918D-7EFA577E2091}" type="datetimeFigureOut">
              <a:rPr lang="en-US" smtClean="0"/>
              <a:t>7/22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0F5254A-454D-4714-8056-D73DCFEB09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EAE8FB-1AB7-4A51-A7E1-97A5FAEFA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23B9C-EBE3-4515-8611-DBDBEE3C57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374992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Green one thi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1126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1" name="think-cell Slide" r:id="rId4" imgW="352" imgH="355" progId="TCLayout.ActiveDocument.1">
                  <p:embed/>
                </p:oleObj>
              </mc:Choice>
              <mc:Fallback>
                <p:oleObj name="think-cell Slide" r:id="rId4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9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1" y="2681104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4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1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4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pPr marL="0" marR="0" indent="0" algn="r" defTabSz="91444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10581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and Conten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invGray">
          <a:xfrm>
            <a:off x="480001" y="1800000"/>
            <a:ext cx="11232001" cy="4237200"/>
          </a:xfrm>
        </p:spPr>
        <p:txBody>
          <a:bodyPr/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invGray">
          <a:xfrm>
            <a:off x="480485" y="1188004"/>
            <a:ext cx="8160000" cy="288925"/>
          </a:xfrm>
        </p:spPr>
        <p:txBody>
          <a:bodyPr lIns="18000" anchor="ctr">
            <a:normAutofit/>
          </a:bodyPr>
          <a:lstStyle>
            <a:lvl1pPr>
              <a:defRPr sz="1600" b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GB" noProof="0"/>
              <a:t>One line Subtitle (optional)</a:t>
            </a:r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21" hasCustomPrompt="1"/>
          </p:nvPr>
        </p:nvSpPr>
        <p:spPr bwMode="invGray">
          <a:xfrm>
            <a:off x="480001" y="6375540"/>
            <a:ext cx="11226365" cy="208579"/>
          </a:xfrm>
        </p:spPr>
        <p:txBody>
          <a:bodyPr anchor="t">
            <a:noAutofit/>
          </a:bodyPr>
          <a:lstStyle>
            <a:lvl1pPr>
              <a:defRPr sz="2000" b="0" i="0">
                <a:solidFill>
                  <a:srgbClr val="FF0000"/>
                </a:solidFill>
                <a:latin typeface="+mn-lt"/>
              </a:defRPr>
            </a:lvl1pPr>
          </a:lstStyle>
          <a:p>
            <a:pPr lvl="0"/>
            <a:r>
              <a:rPr lang="en-GB" noProof="0"/>
              <a:t>DRAFT</a:t>
            </a: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 bwMode="invGray">
          <a:xfrm>
            <a:off x="479999" y="359999"/>
            <a:ext cx="8160000" cy="720000"/>
          </a:xfrm>
        </p:spPr>
        <p:txBody>
          <a:bodyPr/>
          <a:lstStyle>
            <a:lvl1pPr>
              <a:defRPr/>
            </a:lvl1pPr>
          </a:lstStyle>
          <a:p>
            <a:r>
              <a:rPr lang="en-GB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981670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two columns" type="twoColTx">
  <p:cSld name="Title and two columns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18"/>
          <p:cNvSpPr txBox="1">
            <a:spLocks noGrp="1"/>
          </p:cNvSpPr>
          <p:nvPr>
            <p:ph type="title"/>
          </p:nvPr>
        </p:nvSpPr>
        <p:spPr>
          <a:xfrm>
            <a:off x="612633" y="593367"/>
            <a:ext cx="113608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Font typeface="Roboto Light"/>
              <a:buNone/>
              <a:defRPr b="0" i="0">
                <a:latin typeface="Arial" panose="020B0604020202020204" pitchFamily="34" charset="0"/>
                <a:ea typeface="Roboto Light"/>
                <a:cs typeface="Arial" panose="020B0604020202020204" pitchFamily="34" charset="0"/>
                <a:sym typeface="Roboto Light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5" name="Google Shape;15;p18"/>
          <p:cNvSpPr txBox="1">
            <a:spLocks noGrp="1"/>
          </p:cNvSpPr>
          <p:nvPr>
            <p:ph type="body" idx="1"/>
          </p:nvPr>
        </p:nvSpPr>
        <p:spPr>
          <a:xfrm>
            <a:off x="612633" y="1536633"/>
            <a:ext cx="53332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616" lvl="0" indent="-423344" algn="l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B4663"/>
              </a:buClr>
              <a:buSzPts val="1400"/>
              <a:buFont typeface="Roboto Medium"/>
              <a:buChar char="●"/>
              <a:defRPr sz="1867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marL="1219231" lvl="1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marL="1828845" lvl="2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marL="2438461" lvl="3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●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marL="3048076" lvl="4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marL="3657692" lvl="5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marL="4267307" lvl="6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●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marL="4876922" lvl="7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marL="5486538" lvl="8" indent="-406410" algn="l">
              <a:lnSpc>
                <a:spcPct val="125000"/>
              </a:lnSpc>
              <a:spcBef>
                <a:spcPts val="2133"/>
              </a:spcBef>
              <a:spcAft>
                <a:spcPts val="2133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6" name="Google Shape;16;p18"/>
          <p:cNvSpPr txBox="1">
            <a:spLocks noGrp="1"/>
          </p:cNvSpPr>
          <p:nvPr>
            <p:ph type="body" idx="2"/>
          </p:nvPr>
        </p:nvSpPr>
        <p:spPr>
          <a:xfrm>
            <a:off x="6443200" y="1536633"/>
            <a:ext cx="53332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609616" lvl="0" indent="-423344" algn="l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>
                <a:srgbClr val="0B4663"/>
              </a:buClr>
              <a:buSzPts val="1400"/>
              <a:buFont typeface="Roboto Medium"/>
              <a:buChar char="●"/>
              <a:defRPr sz="1867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1pPr>
            <a:lvl2pPr marL="1219231" lvl="1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2pPr>
            <a:lvl3pPr marL="1828845" lvl="2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3pPr>
            <a:lvl4pPr marL="2438461" lvl="3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●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4pPr>
            <a:lvl5pPr marL="3048076" lvl="4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5pPr>
            <a:lvl6pPr marL="3657692" lvl="5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6pPr>
            <a:lvl7pPr marL="4267307" lvl="6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●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7pPr>
            <a:lvl8pPr marL="4876922" lvl="7" indent="-406410" algn="l">
              <a:lnSpc>
                <a:spcPct val="125000"/>
              </a:lnSpc>
              <a:spcBef>
                <a:spcPts val="2133"/>
              </a:spcBef>
              <a:spcAft>
                <a:spcPts val="0"/>
              </a:spcAft>
              <a:buClr>
                <a:srgbClr val="0B4663"/>
              </a:buClr>
              <a:buSzPts val="1200"/>
              <a:buFont typeface="Roboto Medium"/>
              <a:buChar char="○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8pPr>
            <a:lvl9pPr marL="5486538" lvl="8" indent="-406410" algn="l">
              <a:lnSpc>
                <a:spcPct val="125000"/>
              </a:lnSpc>
              <a:spcBef>
                <a:spcPts val="2133"/>
              </a:spcBef>
              <a:spcAft>
                <a:spcPts val="2133"/>
              </a:spcAft>
              <a:buClr>
                <a:srgbClr val="0B4663"/>
              </a:buClr>
              <a:buSzPts val="1200"/>
              <a:buFont typeface="Roboto Medium"/>
              <a:buChar char="■"/>
              <a:defRPr sz="1600">
                <a:solidFill>
                  <a:srgbClr val="0B4663"/>
                </a:solidFill>
                <a:latin typeface="Roboto Medium"/>
                <a:ea typeface="Roboto Medium"/>
                <a:cs typeface="Roboto Medium"/>
                <a:sym typeface="Roboto Medium"/>
              </a:defRPr>
            </a:lvl9pPr>
          </a:lstStyle>
          <a:p>
            <a:endParaRPr/>
          </a:p>
        </p:txBody>
      </p:sp>
      <p:sp>
        <p:nvSpPr>
          <p:cNvPr id="17" name="Google Shape;17;p18"/>
          <p:cNvSpPr txBox="1">
            <a:spLocks noGrp="1"/>
          </p:cNvSpPr>
          <p:nvPr>
            <p:ph type="sldNum" idx="12"/>
          </p:nvPr>
        </p:nvSpPr>
        <p:spPr>
          <a:xfrm>
            <a:off x="11296611" y="6217623"/>
            <a:ext cx="731600" cy="5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Arial" panose="020B0604020202020204" pitchFamily="34" charset="0"/>
                <a:ea typeface="Roboto Light"/>
                <a:cs typeface="Arial" panose="020B0604020202020204" pitchFamily="34" charset="0"/>
                <a:sym typeface="Roboto Light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333" b="0" i="0" u="none" strike="noStrike" cap="none">
                <a:solidFill>
                  <a:schemeClr val="dk2"/>
                </a:solidFill>
                <a:latin typeface="Roboto Light"/>
                <a:ea typeface="Roboto Light"/>
                <a:cs typeface="Roboto Light"/>
                <a:sym typeface="Roboto Light"/>
              </a:defRPr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514382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A755F4-6DA3-401B-BBB7-8DBA18D08E0D}" type="datetime1">
              <a:rPr lang="en-US" smtClean="0"/>
              <a:t>7/2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84A28-5CFC-4064-84AD-8427685188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177421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_no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3" name="think-cell Slide" r:id="rId5" imgW="352" imgH="355" progId="TCLayout.ActiveDocument.1">
                  <p:embed/>
                </p:oleObj>
              </mc:Choice>
              <mc:Fallback>
                <p:oleObj name="think-cell Slide" r:id="rId5" imgW="352" imgH="35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81ABDA97-D60F-466E-B1A3-CAE82CB597D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en-US" sz="2400" b="0" i="0" baseline="0">
              <a:solidFill>
                <a:srgbClr val="FFFFFF"/>
              </a:solidFill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Copyright" hidden="1"/>
          <p:cNvSpPr txBox="1"/>
          <p:nvPr/>
        </p:nvSpPr>
        <p:spPr>
          <a:xfrm rot="16200000">
            <a:off x="9486901" y="3922499"/>
            <a:ext cx="5133975" cy="969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0 by Boston Consulting Group. All rights reserved.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0A75B8BC-6ADC-BC40-8446-A30BADE3EF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8553" y="805392"/>
            <a:ext cx="8048612" cy="537986"/>
          </a:xfrm>
        </p:spPr>
        <p:txBody>
          <a:bodyPr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B96C500B-D9EC-5347-8E16-C455F6F04D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5C7892DB-DEDB-A440-9305-CDECCE7FBDC0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7">
            <a:extLst>
              <a:ext uri="{FF2B5EF4-FFF2-40B4-BE49-F238E27FC236}">
                <a16:creationId xmlns:a16="http://schemas.microsoft.com/office/drawing/2014/main" id="{7354E78C-9ECD-4348-AC32-5470CF79DB1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404154" y="246579"/>
            <a:ext cx="3782308" cy="290352"/>
          </a:xfrm>
        </p:spPr>
        <p:txBody>
          <a:bodyPr rIns="0" anchor="t">
            <a:normAutofit/>
          </a:bodyPr>
          <a:lstStyle>
            <a:lvl1pPr algn="r">
              <a:buNone/>
              <a:defRPr sz="1200" b="0">
                <a:latin typeface="+mn-lt"/>
              </a:defRPr>
            </a:lvl1pPr>
          </a:lstStyle>
          <a:p>
            <a:pPr lvl="0"/>
            <a:r>
              <a:rPr lang="en-US"/>
              <a:t>Section name |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97A7AC-0BD6-5A4F-BCBF-85A20F352B93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US">
              <a:solidFill>
                <a:schemeClr val="tx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12D4D8F-899D-B346-BB13-725965F80D20}"/>
              </a:ext>
            </a:extLst>
          </p:cNvPr>
          <p:cNvSpPr/>
          <p:nvPr userDrawn="1"/>
        </p:nvSpPr>
        <p:spPr bwMode="white">
          <a:xfrm>
            <a:off x="0" y="6739467"/>
            <a:ext cx="12192000" cy="118533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8466911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mpty_Dark Blue B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 3" hidden="1">
            <a:extLst>
              <a:ext uri="{FF2B5EF4-FFF2-40B4-BE49-F238E27FC236}">
                <a16:creationId xmlns:a16="http://schemas.microsoft.com/office/drawing/2014/main" id="{5CF9A8CD-44E6-43DE-97D8-919ABD05C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59013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7" name="Diapositive think-cell" r:id="rId5" imgW="532" imgH="530" progId="TCLayout.ActiveDocument.1">
                  <p:embed/>
                </p:oleObj>
              </mc:Choice>
              <mc:Fallback>
                <p:oleObj name="Diapositive think-cell" r:id="rId5" imgW="532" imgH="530" progId="TCLayout.ActiveDocument.1">
                  <p:embed/>
                  <p:pic>
                    <p:nvPicPr>
                      <p:cNvPr id="4" name="Objet 3" hidden="1">
                        <a:extLst>
                          <a:ext uri="{FF2B5EF4-FFF2-40B4-BE49-F238E27FC236}">
                            <a16:creationId xmlns:a16="http://schemas.microsoft.com/office/drawing/2014/main" id="{5CF9A8CD-44E6-43DE-97D8-919ABD05C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C1DD757-038C-457E-9D36-3DDC777DAD6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GB" sz="2800" b="1" i="0" baseline="0">
              <a:latin typeface="Arial Black" panose="020B0A04020102020204" pitchFamily="34" charset="0"/>
              <a:ea typeface="+mj-ea"/>
              <a:cs typeface="+mj-cs"/>
              <a:sym typeface="Arial Black" panose="020B0A04020102020204" pitchFamily="34" charset="0"/>
            </a:endParaRPr>
          </a:p>
        </p:txBody>
      </p:sp>
      <p:pic>
        <p:nvPicPr>
          <p:cNvPr id="10" name="Graphique 8">
            <a:extLst>
              <a:ext uri="{FF2B5EF4-FFF2-40B4-BE49-F238E27FC236}">
                <a16:creationId xmlns:a16="http://schemas.microsoft.com/office/drawing/2014/main" id="{03FBAD7D-854D-404C-B8B3-4E2C7D8E19D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03005" y="6172200"/>
            <a:ext cx="501320" cy="459192"/>
          </a:xfrm>
          <a:prstGeom prst="rect">
            <a:avLst/>
          </a:prstGeom>
        </p:spPr>
      </p:pic>
      <p:sp>
        <p:nvSpPr>
          <p:cNvPr id="15" name="Espace réservé du numéro de diapositive 2">
            <a:extLst>
              <a:ext uri="{FF2B5EF4-FFF2-40B4-BE49-F238E27FC236}">
                <a16:creationId xmlns:a16="http://schemas.microsoft.com/office/drawing/2014/main" id="{3E5B363C-4834-4022-B3EF-4F0B2F86B47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82933" y="6219235"/>
            <a:ext cx="360037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D61AABEC-672F-4B68-B914-690DA978312C}" type="slidenum">
              <a:rPr lang="en-GB" smtClean="0"/>
              <a:pPr/>
              <a:t>‹#›</a:t>
            </a:fld>
            <a:r>
              <a:rPr lang="en-GB"/>
              <a:t> ‒ </a:t>
            </a:r>
          </a:p>
        </p:txBody>
      </p:sp>
      <p:sp>
        <p:nvSpPr>
          <p:cNvPr id="17" name="Espace réservé du pied de page 4">
            <a:extLst>
              <a:ext uri="{FF2B5EF4-FFF2-40B4-BE49-F238E27FC236}">
                <a16:creationId xmlns:a16="http://schemas.microsoft.com/office/drawing/2014/main" id="{536A3F82-5F59-45E4-A8C9-83EAACE14FE8}"/>
              </a:ext>
            </a:extLst>
          </p:cNvPr>
          <p:cNvSpPr txBox="1">
            <a:spLocks/>
          </p:cNvSpPr>
          <p:nvPr userDrawn="1"/>
        </p:nvSpPr>
        <p:spPr>
          <a:xfrm>
            <a:off x="815318" y="6219235"/>
            <a:ext cx="10447709" cy="365125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fr-FR"/>
            </a:defPPr>
            <a:lvl1pPr marL="0" algn="l" defTabSz="914400" rtl="0" eaLnBrk="1" latinLnBrk="0" hangingPunct="1"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© Ipsos | </a:t>
            </a:r>
            <a:r>
              <a:rPr lang="en-US" sz="900">
                <a:solidFill>
                  <a:schemeClr val="bg1"/>
                </a:solidFill>
              </a:rPr>
              <a:t>COVID-19 Impact</a:t>
            </a:r>
            <a:endParaRPr lang="en-GB" sz="900" b="0" kern="120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DC39ED46-ACD4-4140-8AE3-6EA8A681D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err="1"/>
              <a:t>Title</a:t>
            </a:r>
            <a:r>
              <a:rPr lang="fr-FR"/>
              <a:t> of the slide</a:t>
            </a:r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2B038926-763C-48F5-9721-AE1BAF188A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4787" y="5926943"/>
            <a:ext cx="11463417" cy="203133"/>
          </a:xfrm>
          <a:prstGeom prst="rect">
            <a:avLst/>
          </a:prstGeom>
        </p:spPr>
        <p:txBody>
          <a:bodyPr wrap="square" lIns="72000" anchor="b">
            <a:spAutoFit/>
          </a:bodyPr>
          <a:lstStyle>
            <a:lvl1pPr marL="0" indent="0">
              <a:buNone/>
              <a:defRPr sz="800" b="0" i="1">
                <a:solidFill>
                  <a:schemeClr val="bg1"/>
                </a:solidFill>
              </a:defRPr>
            </a:lvl1pPr>
            <a:lvl2pPr marL="133357" indent="0">
              <a:buNone/>
              <a:defRPr/>
            </a:lvl2pPr>
            <a:lvl3pPr marL="542952" indent="0">
              <a:buNone/>
              <a:defRPr/>
            </a:lvl3pPr>
            <a:lvl4pPr marL="758863" indent="0">
              <a:buNone/>
              <a:defRPr/>
            </a:lvl4pPr>
            <a:lvl5pPr marL="1033515" indent="0">
              <a:buNone/>
              <a:defRPr/>
            </a:lvl5pPr>
          </a:lstStyle>
          <a:p>
            <a:pPr lvl="0"/>
            <a:r>
              <a:rPr lang="en-GB"/>
              <a:t>Sources:</a:t>
            </a:r>
          </a:p>
        </p:txBody>
      </p:sp>
      <p:sp>
        <p:nvSpPr>
          <p:cNvPr id="12" name="Cadre 11">
            <a:extLst>
              <a:ext uri="{FF2B5EF4-FFF2-40B4-BE49-F238E27FC236}">
                <a16:creationId xmlns:a16="http://schemas.microsoft.com/office/drawing/2014/main" id="{1B796240-8CD8-43A3-8D1A-C67B7CF9EE7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frame">
            <a:avLst>
              <a:gd name="adj1" fmla="val 165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>
              <a:solidFill>
                <a:schemeClr val="tx1"/>
              </a:solidFill>
            </a:endParaRP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CE811145-30D4-4346-98CA-B97A784975A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7369" y="1368597"/>
            <a:ext cx="2170448" cy="323165"/>
          </a:xfrm>
          <a:prstGeom prst="rect">
            <a:avLst/>
          </a:prstGeom>
          <a:noFill/>
        </p:spPr>
        <p:txBody>
          <a:bodyPr wrap="none" lIns="72000" rIns="72000" bIns="0">
            <a:sp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ubtitle of the slide</a:t>
            </a:r>
          </a:p>
        </p:txBody>
      </p:sp>
      <p:pic>
        <p:nvPicPr>
          <p:cNvPr id="18" name="Picture 6">
            <a:extLst>
              <a:ext uri="{FF2B5EF4-FFF2-40B4-BE49-F238E27FC236}">
                <a16:creationId xmlns:a16="http://schemas.microsoft.com/office/drawing/2014/main" id="{FFAF5E71-1C03-419E-834C-08A9BBB114F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alphaModFix amt="20000"/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627" t="67247" r="5832" b="5946"/>
          <a:stretch/>
        </p:blipFill>
        <p:spPr bwMode="auto">
          <a:xfrm rot="7895811">
            <a:off x="-853024" y="3821916"/>
            <a:ext cx="1868025" cy="1818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6">
            <a:extLst>
              <a:ext uri="{FF2B5EF4-FFF2-40B4-BE49-F238E27FC236}">
                <a16:creationId xmlns:a16="http://schemas.microsoft.com/office/drawing/2014/main" id="{A5A7B86A-63A2-4479-B3CD-A215AFB65AA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>
            <a:alphaModFix amt="20000"/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627" t="67247" r="5832" b="5946"/>
          <a:stretch/>
        </p:blipFill>
        <p:spPr bwMode="auto">
          <a:xfrm rot="7895811">
            <a:off x="11171653" y="1936110"/>
            <a:ext cx="1868025" cy="18182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object 134">
            <a:extLst>
              <a:ext uri="{FF2B5EF4-FFF2-40B4-BE49-F238E27FC236}">
                <a16:creationId xmlns:a16="http://schemas.microsoft.com/office/drawing/2014/main" id="{F80078AF-6128-43B8-B16E-CE1B601E8F0F}"/>
              </a:ext>
            </a:extLst>
          </p:cNvPr>
          <p:cNvSpPr/>
          <p:nvPr userDrawn="1"/>
        </p:nvSpPr>
        <p:spPr>
          <a:xfrm>
            <a:off x="0" y="0"/>
            <a:ext cx="219456" cy="1088136"/>
          </a:xfrm>
          <a:custGeom>
            <a:avLst/>
            <a:gdLst/>
            <a:ahLst/>
            <a:cxnLst/>
            <a:rect l="l" t="t" r="r" b="b"/>
            <a:pathLst>
              <a:path w="216408" h="1088136">
                <a:moveTo>
                  <a:pt x="0" y="1088136"/>
                </a:moveTo>
                <a:lnTo>
                  <a:pt x="216408" y="1088136"/>
                </a:lnTo>
                <a:lnTo>
                  <a:pt x="216408" y="0"/>
                </a:lnTo>
                <a:lnTo>
                  <a:pt x="0" y="0"/>
                </a:lnTo>
                <a:lnTo>
                  <a:pt x="0" y="1088136"/>
                </a:lnTo>
                <a:close/>
              </a:path>
            </a:pathLst>
          </a:custGeom>
          <a:solidFill>
            <a:srgbClr val="009D9C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  <p:sp>
        <p:nvSpPr>
          <p:cNvPr id="20" name="object 135">
            <a:extLst>
              <a:ext uri="{FF2B5EF4-FFF2-40B4-BE49-F238E27FC236}">
                <a16:creationId xmlns:a16="http://schemas.microsoft.com/office/drawing/2014/main" id="{9A973497-284A-4BD8-B4AA-C2E6A7251402}"/>
              </a:ext>
            </a:extLst>
          </p:cNvPr>
          <p:cNvSpPr/>
          <p:nvPr userDrawn="1"/>
        </p:nvSpPr>
        <p:spPr>
          <a:xfrm>
            <a:off x="3048" y="272797"/>
            <a:ext cx="216408" cy="815339"/>
          </a:xfrm>
          <a:custGeom>
            <a:avLst/>
            <a:gdLst/>
            <a:ahLst/>
            <a:cxnLst/>
            <a:rect l="l" t="t" r="r" b="b"/>
            <a:pathLst>
              <a:path w="216408" h="815339">
                <a:moveTo>
                  <a:pt x="0" y="815339"/>
                </a:moveTo>
                <a:lnTo>
                  <a:pt x="216408" y="815339"/>
                </a:lnTo>
                <a:lnTo>
                  <a:pt x="216408" y="0"/>
                </a:lnTo>
                <a:lnTo>
                  <a:pt x="0" y="0"/>
                </a:lnTo>
                <a:lnTo>
                  <a:pt x="0" y="815339"/>
                </a:lnTo>
                <a:close/>
              </a:path>
            </a:pathLst>
          </a:custGeom>
          <a:solidFill>
            <a:srgbClr val="405A9C"/>
          </a:solidFill>
        </p:spPr>
        <p:txBody>
          <a:bodyPr wrap="square" lIns="0" tIns="0" rIns="0" bIns="0" rtlCol="0">
            <a:noAutofit/>
          </a:bodyPr>
          <a:lstStyle/>
          <a:p>
            <a:endParaRPr sz="1800"/>
          </a:p>
        </p:txBody>
      </p:sp>
    </p:spTree>
    <p:extLst>
      <p:ext uri="{BB962C8B-B14F-4D97-AF65-F5344CB8AC3E}">
        <p14:creationId xmlns:p14="http://schemas.microsoft.com/office/powerpoint/2010/main" val="361535930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248">
          <p15:clr>
            <a:srgbClr val="F26B43"/>
          </p15:clr>
        </p15:guide>
        <p15:guide id="2" pos="7428">
          <p15:clr>
            <a:srgbClr val="F26B43"/>
          </p15:clr>
        </p15:guide>
        <p15:guide id="3" orient="horz" pos="232">
          <p15:clr>
            <a:srgbClr val="F26B43"/>
          </p15:clr>
        </p15:guide>
        <p15:guide id="5" orient="horz" pos="1136">
          <p15:clr>
            <a:srgbClr val="F26B43"/>
          </p15:clr>
        </p15:guide>
        <p15:guide id="6" orient="horz" pos="3584">
          <p15:clr>
            <a:srgbClr val="F26B43"/>
          </p15:clr>
        </p15:guide>
        <p15:guide id="7" orient="horz" pos="3906">
          <p15:clr>
            <a:srgbClr val="F26B43"/>
          </p15:clr>
        </p15:guide>
        <p15:guide id="8" orient="horz" pos="4156">
          <p15:clr>
            <a:srgbClr val="F26B43"/>
          </p15:clr>
        </p15:guide>
        <p15:guide id="9" pos="306">
          <p15:clr>
            <a:srgbClr val="A4A3A4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D38C433-B876-4303-AA4F-BF117076C8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24923-A3BB-4224-918D-7EFA577E2091}" type="datetimeFigureOut">
              <a:rPr lang="en-US" smtClean="0"/>
              <a:t>7/22/2022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C105DA-8DA0-430B-95F5-3E5E2D6478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CF4CCB6-5983-434B-8569-7A4E8DFC4C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23B9C-EBE3-4515-8611-DBDBEE3C57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246768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64E39D-7B07-46D3-86FB-22D106C0F11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26F0851-29CE-4F95-95A9-77BF4E70D6B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A45C31C-9709-4820-8567-C0340C2458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756122F-CB12-41CB-B5B5-4D2C625A721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524923-A3BB-4224-918D-7EFA577E2091}" type="datetimeFigureOut">
              <a:rPr lang="en-US" smtClean="0"/>
              <a:t>7/22/2022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AECFB34-6450-46EE-A397-B1AD4E620A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474B5F-8E52-44FD-8D74-C2A95A4BE1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8823B9C-EBE3-4515-8611-DBDBEE3C577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1567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C39EB1-1D59-4CD8-8373-B9EB57ED7F5C}" type="datetime1">
              <a:rPr lang="en-US" smtClean="0"/>
              <a:t>7/22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84A28-5CFC-4064-84AD-8427685188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825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CCD1CF-82B4-4899-A661-C85118085406}" type="datetime1">
              <a:rPr lang="en-US" smtClean="0"/>
              <a:t>7/2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84A28-5CFC-4064-84AD-8427685188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03156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47EEE0D-F2F8-491A-AE5E-3395A1BC7B7B}" type="datetime1">
              <a:rPr lang="en-US" smtClean="0"/>
              <a:t>7/2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884A28-5CFC-4064-84AD-8427685188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61501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wmf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60.xml"/><Relationship Id="rId3" Type="http://schemas.openxmlformats.org/officeDocument/2006/relationships/slideLayout" Target="../slideLayouts/slideLayout37.xml"/><Relationship Id="rId21" Type="http://schemas.openxmlformats.org/officeDocument/2006/relationships/slideLayout" Target="../slideLayouts/slideLayout55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9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slideLayout" Target="../slideLayouts/slideLayout54.xml"/><Relationship Id="rId29" Type="http://schemas.openxmlformats.org/officeDocument/2006/relationships/slideLayout" Target="../slideLayouts/slideLayout63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slideLayout" Target="../slideLayouts/slideLayout58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7.xml"/><Relationship Id="rId28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56.xml"/><Relationship Id="rId27" Type="http://schemas.openxmlformats.org/officeDocument/2006/relationships/slideLayout" Target="../slideLayouts/slideLayout61.xml"/><Relationship Id="rId30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13F5CFE-93A9-4289-932B-554B6C780DA8}" type="datetime1">
              <a:rPr lang="en-US" smtClean="0"/>
              <a:t>7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884A28-5CFC-4064-84AD-84276851883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2351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0" y="0"/>
            <a:ext cx="12192000" cy="1238270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96CCEE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90052" y="1380815"/>
            <a:ext cx="11055335" cy="46118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174" name="Line 6"/>
          <p:cNvSpPr>
            <a:spLocks noChangeShapeType="1"/>
          </p:cNvSpPr>
          <p:nvPr/>
        </p:nvSpPr>
        <p:spPr bwMode="auto">
          <a:xfrm>
            <a:off x="0" y="1246909"/>
            <a:ext cx="12192000" cy="0"/>
          </a:xfrm>
          <a:prstGeom prst="line">
            <a:avLst/>
          </a:prstGeom>
          <a:noFill/>
          <a:ln w="38100">
            <a:solidFill>
              <a:srgbClr val="1E7FB8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28398" dir="1593903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2355" tIns="41178" rIns="82355" bIns="41178"/>
          <a:lstStyle/>
          <a:p>
            <a:endParaRPr lang="en-US" sz="1633"/>
          </a:p>
        </p:txBody>
      </p:sp>
      <p:sp>
        <p:nvSpPr>
          <p:cNvPr id="7180" name="Rectangle 12"/>
          <p:cNvSpPr>
            <a:spLocks noChangeArrowheads="1"/>
          </p:cNvSpPr>
          <p:nvPr/>
        </p:nvSpPr>
        <p:spPr bwMode="auto">
          <a:xfrm>
            <a:off x="1811" y="6015688"/>
            <a:ext cx="12192000" cy="842312"/>
          </a:xfrm>
          <a:prstGeom prst="rect">
            <a:avLst/>
          </a:prstGeom>
          <a:solidFill>
            <a:srgbClr val="1E7FB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82355" tIns="41178" rIns="82355" bIns="41178" anchor="ctr"/>
          <a:lstStyle/>
          <a:p>
            <a:endParaRPr lang="en-US" sz="1633"/>
          </a:p>
        </p:txBody>
      </p:sp>
      <p:sp>
        <p:nvSpPr>
          <p:cNvPr id="7182" name="Rectangle 14"/>
          <p:cNvSpPr>
            <a:spLocks noChangeArrowheads="1"/>
          </p:cNvSpPr>
          <p:nvPr/>
        </p:nvSpPr>
        <p:spPr bwMode="auto">
          <a:xfrm>
            <a:off x="479648" y="6398688"/>
            <a:ext cx="474214" cy="3326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algn="r" defTabSz="939335" rtl="0"/>
            <a:fld id="{940F83FE-9265-477F-846A-A441FA63AE1B}" type="slidenum">
              <a:rPr lang="x-none" sz="1542">
                <a:solidFill>
                  <a:srgbClr val="72BBE8"/>
                </a:solidFill>
                <a:latin typeface="Arial Narrow" pitchFamily="34" charset="0"/>
              </a:rPr>
              <a:pPr algn="r" defTabSz="939335" rtl="0"/>
              <a:t>‹#›</a:t>
            </a:fld>
            <a:r>
              <a:rPr lang="en-US" sz="1542">
                <a:solidFill>
                  <a:srgbClr val="72BBE8"/>
                </a:solidFill>
                <a:latin typeface="Arial Narrow" pitchFamily="34" charset="0"/>
              </a:rPr>
              <a:t> </a:t>
            </a:r>
            <a:r>
              <a:rPr lang="en-US" sz="2177" baseline="14000">
                <a:solidFill>
                  <a:schemeClr val="bg1"/>
                </a:solidFill>
                <a:latin typeface="Arial Narrow" pitchFamily="34" charset="0"/>
              </a:rPr>
              <a:t>|</a:t>
            </a:r>
          </a:p>
        </p:txBody>
      </p:sp>
      <p:pic>
        <p:nvPicPr>
          <p:cNvPr id="7185" name="Picture 17" descr="WHO-EN-white-H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75668" y="6040206"/>
            <a:ext cx="2943021" cy="7170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7646933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ctr" defTabSz="939335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+mj-lt"/>
          <a:ea typeface="+mj-ea"/>
          <a:cs typeface="+mj-cs"/>
        </a:defRPr>
      </a:lvl1pPr>
      <a:lvl2pPr algn="ctr" defTabSz="939335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2pPr>
      <a:lvl3pPr algn="ctr" defTabSz="939335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3pPr>
      <a:lvl4pPr algn="ctr" defTabSz="939335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4pPr>
      <a:lvl5pPr algn="ctr" defTabSz="939335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5pPr>
      <a:lvl6pPr marL="411745" algn="ctr" defTabSz="939335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6pPr>
      <a:lvl7pPr marL="823517" algn="ctr" defTabSz="939335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7pPr>
      <a:lvl8pPr marL="1235289" algn="ctr" defTabSz="939335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8pPr>
      <a:lvl9pPr marL="1647053" algn="ctr" defTabSz="939335" rtl="0" fontAlgn="base">
        <a:spcBef>
          <a:spcPct val="0"/>
        </a:spcBef>
        <a:spcAft>
          <a:spcPct val="0"/>
        </a:spcAft>
        <a:defRPr sz="3628" b="1">
          <a:solidFill>
            <a:srgbClr val="000066"/>
          </a:solidFill>
          <a:latin typeface="Arial" charset="0"/>
          <a:cs typeface="Arial" charset="0"/>
        </a:defRPr>
      </a:lvl9pPr>
    </p:titleStyle>
    <p:bodyStyle>
      <a:lvl1pPr marL="351711" indent="-351711" algn="l" defTabSz="939335" rtl="0" fontAlgn="base">
        <a:spcBef>
          <a:spcPct val="80000"/>
        </a:spcBef>
        <a:spcAft>
          <a:spcPct val="0"/>
        </a:spcAft>
        <a:buClr>
          <a:srgbClr val="1E7FB8"/>
        </a:buClr>
        <a:buFont typeface="Wingdings" pitchFamily="2" charset="2"/>
        <a:buChar char="l"/>
        <a:defRPr sz="2630">
          <a:solidFill>
            <a:srgbClr val="000066"/>
          </a:solidFill>
          <a:latin typeface="+mn-lt"/>
          <a:ea typeface="+mn-ea"/>
          <a:cs typeface="+mn-cs"/>
        </a:defRPr>
      </a:lvl1pPr>
      <a:lvl2pPr marL="827805" indent="-290236" algn="l" defTabSz="939335" rtl="0" fontAlgn="base">
        <a:spcBef>
          <a:spcPct val="20000"/>
        </a:spcBef>
        <a:spcAft>
          <a:spcPct val="0"/>
        </a:spcAft>
        <a:buClr>
          <a:srgbClr val="1E7FB8"/>
        </a:buClr>
        <a:buFont typeface="Arial" charset="0"/>
        <a:buChar char="–"/>
        <a:defRPr sz="2177">
          <a:solidFill>
            <a:srgbClr val="000066"/>
          </a:solidFill>
          <a:latin typeface="+mn-lt"/>
          <a:cs typeface="+mn-cs"/>
        </a:defRPr>
      </a:lvl2pPr>
      <a:lvl3pPr marL="1291057" indent="-277369" algn="l" defTabSz="939335" rtl="0" fontAlgn="base">
        <a:spcBef>
          <a:spcPct val="20000"/>
        </a:spcBef>
        <a:spcAft>
          <a:spcPct val="0"/>
        </a:spcAft>
        <a:buClr>
          <a:srgbClr val="1E7FB8"/>
        </a:buClr>
        <a:buChar char="•"/>
        <a:defRPr sz="2177">
          <a:solidFill>
            <a:srgbClr val="000066"/>
          </a:solidFill>
          <a:latin typeface="Arial Narrow" pitchFamily="34" charset="0"/>
          <a:cs typeface="+mn-cs"/>
        </a:defRPr>
      </a:lvl3pPr>
      <a:lvl4pPr marL="1709966" indent="-233046" algn="l" defTabSz="939335" rtl="0" fontAlgn="base">
        <a:spcBef>
          <a:spcPct val="20000"/>
        </a:spcBef>
        <a:spcAft>
          <a:spcPct val="0"/>
        </a:spcAft>
        <a:buClr>
          <a:srgbClr val="1E7FB8"/>
        </a:buClr>
        <a:buChar char="–"/>
        <a:defRPr sz="2177">
          <a:solidFill>
            <a:srgbClr val="000066"/>
          </a:solidFill>
          <a:latin typeface="Arial Narrow" pitchFamily="34" charset="0"/>
          <a:cs typeface="+mn-cs"/>
        </a:defRPr>
      </a:lvl4pPr>
      <a:lvl5pPr marL="2043095" indent="-148693" algn="r" defTabSz="939335" rtl="1" fontAlgn="base">
        <a:spcBef>
          <a:spcPct val="20000"/>
        </a:spcBef>
        <a:spcAft>
          <a:spcPct val="0"/>
        </a:spcAft>
        <a:buChar char="»"/>
        <a:defRPr sz="2086">
          <a:solidFill>
            <a:srgbClr val="000066"/>
          </a:solidFill>
          <a:latin typeface="+mn-lt"/>
          <a:cs typeface="+mn-cs"/>
        </a:defRPr>
      </a:lvl5pPr>
      <a:lvl6pPr marL="2454856" indent="-148693" algn="r" defTabSz="939335" rtl="1" fontAlgn="base">
        <a:spcBef>
          <a:spcPct val="20000"/>
        </a:spcBef>
        <a:spcAft>
          <a:spcPct val="0"/>
        </a:spcAft>
        <a:buChar char="»"/>
        <a:defRPr sz="2086">
          <a:solidFill>
            <a:srgbClr val="000066"/>
          </a:solidFill>
          <a:latin typeface="+mn-lt"/>
          <a:cs typeface="+mn-cs"/>
        </a:defRPr>
      </a:lvl6pPr>
      <a:lvl7pPr marL="2866621" indent="-148693" algn="r" defTabSz="939335" rtl="1" fontAlgn="base">
        <a:spcBef>
          <a:spcPct val="20000"/>
        </a:spcBef>
        <a:spcAft>
          <a:spcPct val="0"/>
        </a:spcAft>
        <a:buChar char="»"/>
        <a:defRPr sz="2086">
          <a:solidFill>
            <a:srgbClr val="000066"/>
          </a:solidFill>
          <a:latin typeface="+mn-lt"/>
          <a:cs typeface="+mn-cs"/>
        </a:defRPr>
      </a:lvl7pPr>
      <a:lvl8pPr marL="3278383" indent="-148693" algn="r" defTabSz="939335" rtl="1" fontAlgn="base">
        <a:spcBef>
          <a:spcPct val="20000"/>
        </a:spcBef>
        <a:spcAft>
          <a:spcPct val="0"/>
        </a:spcAft>
        <a:buChar char="»"/>
        <a:defRPr sz="2086">
          <a:solidFill>
            <a:srgbClr val="000066"/>
          </a:solidFill>
          <a:latin typeface="+mn-lt"/>
          <a:cs typeface="+mn-cs"/>
        </a:defRPr>
      </a:lvl8pPr>
      <a:lvl9pPr marL="3690149" indent="-148693" algn="r" defTabSz="939335" rtl="1" fontAlgn="base">
        <a:spcBef>
          <a:spcPct val="20000"/>
        </a:spcBef>
        <a:spcAft>
          <a:spcPct val="0"/>
        </a:spcAft>
        <a:buChar char="»"/>
        <a:defRPr sz="2086">
          <a:solidFill>
            <a:srgbClr val="00006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3517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1745" algn="l" defTabSz="823517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3517" algn="l" defTabSz="823517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35289" algn="l" defTabSz="823517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47053" algn="l" defTabSz="823517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58820" algn="l" defTabSz="823517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70583" algn="l" defTabSz="823517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882345" algn="l" defTabSz="823517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294111" algn="l" defTabSz="823517" rtl="0" eaLnBrk="1" latinLnBrk="0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F0C2AA7F-9592-49C1-ADE1-24C4AA00D3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9998C84-8A4D-4916-A33E-24D78EDE2E5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8563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ransition>
    <p:fade/>
  </p:transition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85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54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33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457189" indent="-457189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1pPr>
      <a:lvl2pPr marL="990575" indent="-38099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2pPr>
      <a:lvl3pPr marL="1523962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3pPr>
      <a:lvl4pPr marL="2133547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4pPr>
      <a:lvl5pPr marL="2743131" indent="-304792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8251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  <p:sldLayoutId id="2147483697" r:id="rId12"/>
    <p:sldLayoutId id="2147483698" r:id="rId13"/>
    <p:sldLayoutId id="2147483699" r:id="rId14"/>
    <p:sldLayoutId id="2147483700" r:id="rId15"/>
    <p:sldLayoutId id="2147483701" r:id="rId16"/>
    <p:sldLayoutId id="2147483702" r:id="rId17"/>
    <p:sldLayoutId id="2147483703" r:id="rId18"/>
    <p:sldLayoutId id="2147483704" r:id="rId19"/>
    <p:sldLayoutId id="2147483705" r:id="rId20"/>
    <p:sldLayoutId id="2147483706" r:id="rId21"/>
    <p:sldLayoutId id="2147483707" r:id="rId22"/>
    <p:sldLayoutId id="2147483708" r:id="rId23"/>
    <p:sldLayoutId id="2147483709" r:id="rId24"/>
    <p:sldLayoutId id="2147483710" r:id="rId25"/>
    <p:sldLayoutId id="2147483711" r:id="rId26"/>
    <p:sldLayoutId id="2147483712" r:id="rId27"/>
    <p:sldLayoutId id="2147483713" r:id="rId28"/>
    <p:sldLayoutId id="2147483714" r:id="rId29"/>
  </p:sldLayoutIdLst>
  <p:txStyles>
    <p:titleStyle>
      <a:lvl1pPr algn="l" defTabSz="609630" rtl="0" eaLnBrk="1" latinLnBrk="0" hangingPunct="1">
        <a:lnSpc>
          <a:spcPct val="90000"/>
        </a:lnSpc>
        <a:spcBef>
          <a:spcPct val="0"/>
        </a:spcBef>
        <a:buNone/>
        <a:defRPr sz="7200" kern="1200">
          <a:solidFill>
            <a:schemeClr val="tx1"/>
          </a:solidFill>
          <a:latin typeface="Poppins" pitchFamily="2" charset="77"/>
          <a:ea typeface="+mj-ea"/>
          <a:cs typeface="Poppins" pitchFamily="2" charset="77"/>
        </a:defRPr>
      </a:lvl1pPr>
    </p:titleStyle>
    <p:bodyStyle>
      <a:lvl1pPr marL="152408" indent="-152408" algn="l" defTabSz="609630" rtl="0" eaLnBrk="1" latinLnBrk="0" hangingPunct="1">
        <a:lnSpc>
          <a:spcPct val="90000"/>
        </a:lnSpc>
        <a:spcBef>
          <a:spcPts val="667"/>
        </a:spcBef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lnSpc>
          <a:spcPct val="90000"/>
        </a:lnSpc>
        <a:spcBef>
          <a:spcPts val="333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svg"/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5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sv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5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hcd4health.org/fr" TargetMode="External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sv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57.png"/><Relationship Id="rId4" Type="http://schemas.openxmlformats.org/officeDocument/2006/relationships/hyperlink" Target="https://www.hcd4health.org/fr" TargetMode="Externa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sv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50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7.xml"/><Relationship Id="rId4" Type="http://schemas.openxmlformats.org/officeDocument/2006/relationships/hyperlink" Target="https://www.unicef.org/somalia/stories/no-one-safe-until-everyone-safe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7.xml"/><Relationship Id="rId4" Type="http://schemas.openxmlformats.org/officeDocument/2006/relationships/hyperlink" Target="https://mailchi.mp/18dac6b0b1b7/behaviour-change-matters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sv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3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slideLayout" Target="../slideLayouts/slideLayout52.xml"/><Relationship Id="rId1" Type="http://schemas.openxmlformats.org/officeDocument/2006/relationships/video" Target="https://www.youtube.com/embed/y2PQsiaaTVA?start=97&amp;feature=oembed" TargetMode="Externa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40.jpeg"/><Relationship Id="rId7" Type="http://schemas.openxmlformats.org/officeDocument/2006/relationships/image" Target="../media/image4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10" Type="http://schemas.openxmlformats.org/officeDocument/2006/relationships/image" Target="../media/image47.jpeg"/><Relationship Id="rId4" Type="http://schemas.openxmlformats.org/officeDocument/2006/relationships/image" Target="../media/image41.jpeg"/><Relationship Id="rId9" Type="http://schemas.openxmlformats.org/officeDocument/2006/relationships/image" Target="../media/image46.jpe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3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54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7.xml"/><Relationship Id="rId5" Type="http://schemas.microsoft.com/office/2007/relationships/hdphoto" Target="../media/hdphoto1.wdp"/><Relationship Id="rId4" Type="http://schemas.openxmlformats.org/officeDocument/2006/relationships/image" Target="../media/image5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7E4163C3-3D49-14F0-103B-C4A6893E03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pPr algn="l" rtl="0"/>
            <a:r>
              <a:rPr lang="fr" i="0" u="none" baseline="0">
                <a:latin typeface="Poppins ExtraBold"/>
                <a:cs typeface="Poppins"/>
              </a:rPr>
              <a:t>Le parcours de </a:t>
            </a:r>
            <a:r>
              <a:rPr lang="fr" i="0" u="none" baseline="0" err="1">
                <a:latin typeface="Poppins ExtraBold"/>
                <a:cs typeface="Poppins"/>
              </a:rPr>
              <a:t>Fikile</a:t>
            </a:r>
            <a:r>
              <a:rPr lang="fr" i="0" u="none" baseline="0">
                <a:latin typeface="Poppins ExtraBold"/>
                <a:cs typeface="Poppins"/>
              </a:rPr>
              <a:t> : Mise à l'épreuve du parcours vers la vaccination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D3EA595-A8CD-93D4-4CA6-88E1FB657A6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l" rtl="0"/>
            <a:r>
              <a:rPr lang="fr" sz="2400" b="0" i="0" u="none" baseline="0"/>
              <a:t>Deepa Pokharel, Conseillère principale en changement social et comportemental, UNICEF</a:t>
            </a:r>
            <a:endParaRPr lang="fr" sz="2800"/>
          </a:p>
          <a:p>
            <a:endParaRPr lang="fr"/>
          </a:p>
        </p:txBody>
      </p:sp>
    </p:spTree>
    <p:extLst>
      <p:ext uri="{BB962C8B-B14F-4D97-AF65-F5344CB8AC3E}">
        <p14:creationId xmlns:p14="http://schemas.microsoft.com/office/powerpoint/2010/main" val="27037373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A11B9C-C5F9-4336-80D8-05E26021966C}"/>
              </a:ext>
            </a:extLst>
          </p:cNvPr>
          <p:cNvSpPr txBox="1">
            <a:spLocks/>
          </p:cNvSpPr>
          <p:nvPr/>
        </p:nvSpPr>
        <p:spPr>
          <a:xfrm>
            <a:off x="365150" y="1579163"/>
            <a:ext cx="5816600" cy="1326091"/>
          </a:xfrm>
          <a:prstGeom prst="rect">
            <a:avLst/>
          </a:prstGeom>
        </p:spPr>
        <p:txBody>
          <a:bodyPr lIns="91440" tIns="45720" rIns="91440" bIns="45720" anchor="t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0800" kern="1200">
                <a:solidFill>
                  <a:schemeClr val="tx1"/>
                </a:solidFill>
                <a:latin typeface="Poppins" pitchFamily="2" charset="77"/>
                <a:ea typeface="+mj-ea"/>
                <a:cs typeface="Poppins" pitchFamily="2" charset="77"/>
              </a:defRPr>
            </a:lvl1pPr>
          </a:lstStyle>
          <a:p>
            <a:pPr defTabSz="609630">
              <a:spcBef>
                <a:spcPts val="600"/>
              </a:spcBef>
              <a:spcAft>
                <a:spcPts val="600"/>
              </a:spcAft>
            </a:pPr>
            <a:r>
              <a:rPr lang="fr" sz="6000" b="1" i="0" u="none" baseline="0">
                <a:solidFill>
                  <a:schemeClr val="bg1"/>
                </a:solidFill>
                <a:latin typeface="Poppins ExtraBold"/>
                <a:cs typeface="Poppins ExtraBold"/>
              </a:rPr>
              <a:t>Rejoignez </a:t>
            </a:r>
            <a:endParaRPr lang="fr-FR">
              <a:solidFill>
                <a:schemeClr val="bg1"/>
              </a:solidFill>
              <a:latin typeface="Poppins ExtraBold"/>
              <a:cs typeface="Poppins ExtraBold"/>
            </a:endParaRPr>
          </a:p>
          <a:p>
            <a:pPr defTabSz="609630">
              <a:spcBef>
                <a:spcPts val="600"/>
              </a:spcBef>
              <a:spcAft>
                <a:spcPts val="600"/>
              </a:spcAft>
            </a:pPr>
            <a:r>
              <a:rPr lang="fr" sz="6000" b="1">
                <a:solidFill>
                  <a:schemeClr val="bg1"/>
                </a:solidFill>
                <a:latin typeface="Poppins ExtraBold"/>
                <a:cs typeface="Poppins ExtraBold"/>
              </a:rPr>
              <a:t>les</a:t>
            </a:r>
            <a:r>
              <a:rPr lang="fr" sz="6000" b="1" i="0" u="none" baseline="0">
                <a:solidFill>
                  <a:schemeClr val="bg1"/>
                </a:solidFill>
                <a:latin typeface="Poppins ExtraBold"/>
                <a:cs typeface="Poppins ExtraBold"/>
              </a:rPr>
              <a:t> groupes</a:t>
            </a:r>
            <a:endParaRPr lang="fr-FR">
              <a:solidFill>
                <a:schemeClr val="bg1"/>
              </a:solidFill>
              <a:latin typeface="Poppins ExtraBold"/>
              <a:cs typeface="Poppins ExtraBold"/>
            </a:endParaRPr>
          </a:p>
          <a:p>
            <a:pPr defTabSz="609630">
              <a:spcBef>
                <a:spcPts val="600"/>
              </a:spcBef>
              <a:spcAft>
                <a:spcPts val="600"/>
              </a:spcAft>
            </a:pPr>
            <a:r>
              <a:rPr lang="fr" sz="6000" b="1" i="0" u="none" baseline="0">
                <a:solidFill>
                  <a:schemeClr val="bg1"/>
                </a:solidFill>
                <a:latin typeface="Poppins ExtraBold"/>
                <a:cs typeface="Poppins ExtraBold"/>
              </a:rPr>
              <a:t>de discussion</a:t>
            </a:r>
            <a:endParaRPr lang="fr-FR">
              <a:solidFill>
                <a:schemeClr val="bg1"/>
              </a:solidFill>
              <a:latin typeface="Poppins ExtraBold"/>
              <a:cs typeface="Poppins ExtraBold"/>
            </a:endParaRP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17B816F8-18F5-4889-A52A-1D2F3DDFE7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p:blipFill>
        <p:spPr>
          <a:xfrm>
            <a:off x="6096000" y="1069503"/>
            <a:ext cx="4724400" cy="4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69476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A11B9C-C5F9-4336-80D8-05E26021966C}"/>
              </a:ext>
            </a:extLst>
          </p:cNvPr>
          <p:cNvSpPr txBox="1">
            <a:spLocks/>
          </p:cNvSpPr>
          <p:nvPr/>
        </p:nvSpPr>
        <p:spPr>
          <a:xfrm>
            <a:off x="669950" y="1543305"/>
            <a:ext cx="5426050" cy="132609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0800" kern="1200">
                <a:solidFill>
                  <a:schemeClr val="tx1"/>
                </a:solidFill>
                <a:latin typeface="Poppins" pitchFamily="2" charset="77"/>
                <a:ea typeface="+mj-ea"/>
                <a:cs typeface="Poppins" pitchFamily="2" charset="77"/>
              </a:defRPr>
            </a:lvl1pPr>
          </a:lstStyle>
          <a:p>
            <a:pPr algn="l" defTabSz="609630" rtl="0"/>
            <a:r>
              <a:rPr lang="fr" sz="7200" b="1" i="0" u="none" baseline="0">
                <a:solidFill>
                  <a:prstClr val="white"/>
                </a:solidFill>
                <a:latin typeface="Poppins ExtraBold" pitchFamily="2" charset="77"/>
                <a:cs typeface="Poppins ExtraBold" pitchFamily="2" charset="77"/>
              </a:rPr>
              <a:t>Visite du Miro Board</a:t>
            </a:r>
          </a:p>
        </p:txBody>
      </p:sp>
      <p:pic>
        <p:nvPicPr>
          <p:cNvPr id="5" name="Graphic 4" descr="Theatre with solid fill">
            <a:extLst>
              <a:ext uri="{FF2B5EF4-FFF2-40B4-BE49-F238E27FC236}">
                <a16:creationId xmlns:a16="http://schemas.microsoft.com/office/drawing/2014/main" id="{566A9801-99F1-43B5-9FA8-B96E0F4AFE4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983834" y="997507"/>
            <a:ext cx="4317188" cy="43171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093324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5251" y="607759"/>
            <a:ext cx="12287251" cy="6516603"/>
          </a:xfrm>
          <a:prstGeom prst="rect">
            <a:avLst/>
          </a:prstGeom>
        </p:spPr>
      </p:pic>
      <p:sp>
        <p:nvSpPr>
          <p:cNvPr id="123" name="Shape 123"/>
          <p:cNvSpPr/>
          <p:nvPr/>
        </p:nvSpPr>
        <p:spPr>
          <a:xfrm>
            <a:off x="8870864" y="1642176"/>
            <a:ext cx="1850783" cy="16660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391" tIns="25391" rIns="25391" bIns="25391" anchor="ctr">
            <a:spAutoFit/>
          </a:bodyPr>
          <a:lstStyle>
            <a:lvl1pPr algn="ctr">
              <a:lnSpc>
                <a:spcPct val="110000"/>
              </a:lnSpc>
              <a:spcBef>
                <a:spcPts val="2000"/>
              </a:spcBef>
              <a:defRPr sz="3200">
                <a:solidFill>
                  <a:srgbClr val="FFFFFF"/>
                </a:solidFill>
              </a:defRPr>
            </a:lvl1pPr>
          </a:lstStyle>
          <a:p>
            <a:pPr algn="r" defTabSz="412504" rtl="0" hangingPunct="0">
              <a:spcBef>
                <a:spcPts val="1000"/>
              </a:spcBef>
            </a:pPr>
            <a:r>
              <a:rPr lang="fr" sz="1600" b="1" i="0" u="none" kern="0" baseline="0">
                <a:solidFill>
                  <a:srgbClr val="FFFEFF"/>
                </a:solidFill>
                <a:latin typeface="Poppins" panose="00000500000000000000" pitchFamily="2" charset="0"/>
                <a:cs typeface="Poppins" panose="00000500000000000000" pitchFamily="2" charset="0"/>
                <a:sym typeface="Calibri"/>
              </a:rPr>
              <a:t>Utiliser des incitations pour combler le fossé entre les intentions et les actions</a:t>
            </a:r>
            <a:endParaRPr lang="fr" sz="1600" b="1" kern="0"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124" name="Shape 124"/>
          <p:cNvSpPr/>
          <p:nvPr/>
        </p:nvSpPr>
        <p:spPr>
          <a:xfrm>
            <a:off x="8502085" y="4238153"/>
            <a:ext cx="2229691" cy="12823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391" tIns="25391" rIns="25391" bIns="25391" anchor="ctr">
            <a:spAutoFit/>
          </a:bodyPr>
          <a:lstStyle/>
          <a:p>
            <a:pPr algn="l" defTabSz="412504" rtl="0" hangingPunct="0">
              <a:spcBef>
                <a:spcPts val="1000"/>
              </a:spcBef>
              <a:defRPr sz="3200">
                <a:solidFill>
                  <a:srgbClr val="FFFFFF"/>
                </a:solidFill>
              </a:defRPr>
            </a:pPr>
            <a:r>
              <a:rPr lang="fr" sz="1600" b="1" i="0" u="none" kern="0" baseline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Calibri"/>
              </a:rPr>
              <a:t>Cultiver et entretenir</a:t>
            </a:r>
            <a:r>
              <a:rPr lang="ro-RO" sz="1600" b="1" i="0" u="none" kern="0" baseline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Calibri"/>
              </a:rPr>
              <a:t> </a:t>
            </a:r>
            <a:r>
              <a:rPr lang="fr" sz="1600" b="1" i="0" u="none" kern="0" baseline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Calibri"/>
              </a:rPr>
              <a:t>la</a:t>
            </a:r>
            <a:r>
              <a:rPr lang="ro-RO" sz="1600" b="1" i="0" u="none" kern="0" baseline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Calibri"/>
              </a:rPr>
              <a:t> </a:t>
            </a:r>
            <a:r>
              <a:rPr lang="fr" sz="1600" b="1" i="0" u="none" kern="0" baseline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Calibri"/>
              </a:rPr>
              <a:t>confiance du public envers les</a:t>
            </a:r>
            <a:r>
              <a:rPr lang="ro-RO" sz="1600" b="1" i="0" u="none" kern="0" baseline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Calibri"/>
              </a:rPr>
              <a:t> </a:t>
            </a:r>
            <a:r>
              <a:rPr lang="fr" sz="1600" b="1" i="0" u="none" kern="0" baseline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  <a:sym typeface="Calibri"/>
              </a:rPr>
              <a:t>vaccins et les services</a:t>
            </a:r>
            <a:endParaRPr sz="1600" b="1" kern="0">
              <a:solidFill>
                <a:srgbClr val="FFFFFF"/>
              </a:solidFill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126" name="Shape 126"/>
          <p:cNvSpPr/>
          <p:nvPr/>
        </p:nvSpPr>
        <p:spPr>
          <a:xfrm>
            <a:off x="5038597" y="4140745"/>
            <a:ext cx="2158667" cy="27704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391" tIns="25391" rIns="25391" bIns="25391" anchor="ctr">
            <a:spAutoFit/>
          </a:bodyPr>
          <a:lstStyle/>
          <a:p>
            <a:pPr algn="ctr" defTabSz="412504" rtl="0" hangingPunct="0"/>
            <a:endParaRPr lang="fr" sz="1467" b="1" kern="0">
              <a:solidFill>
                <a:srgbClr val="FFFEFF"/>
              </a:solidFill>
              <a:latin typeface="Poppins" panose="00000500000000000000" pitchFamily="2" charset="0"/>
              <a:cs typeface="Poppins" panose="00000500000000000000" pitchFamily="2" charset="0"/>
              <a:sym typeface="Calibri"/>
            </a:endParaRPr>
          </a:p>
        </p:txBody>
      </p:sp>
      <p:sp>
        <p:nvSpPr>
          <p:cNvPr id="128" name="Shape 128"/>
          <p:cNvSpPr/>
          <p:nvPr/>
        </p:nvSpPr>
        <p:spPr>
          <a:xfrm>
            <a:off x="482867" y="3727510"/>
            <a:ext cx="1560969" cy="1563230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391" tIns="25391" rIns="25391" bIns="25391" anchor="ctr">
            <a:spAutoFit/>
          </a:bodyPr>
          <a:lstStyle>
            <a:lvl1pPr algn="ctr">
              <a:lnSpc>
                <a:spcPct val="110000"/>
              </a:lnSpc>
              <a:spcBef>
                <a:spcPts val="2000"/>
              </a:spcBef>
              <a:defRPr sz="3200">
                <a:solidFill>
                  <a:srgbClr val="FFFFFF"/>
                </a:solidFill>
              </a:defRPr>
            </a:lvl1pPr>
          </a:lstStyle>
          <a:p>
            <a:pPr algn="l" defTabSz="412504" hangingPunct="0">
              <a:spcBef>
                <a:spcPts val="1000"/>
              </a:spcBef>
            </a:pPr>
            <a:r>
              <a:rPr lang="fr" sz="1800" b="1" i="0" u="none" kern="0" baseline="0" dirty="0">
                <a:latin typeface="Poppins"/>
                <a:cs typeface="Poppins"/>
                <a:sym typeface="Calibri"/>
              </a:rPr>
              <a:t>Faire de l'action souhaitée l'action la plus simple</a:t>
            </a:r>
            <a:endParaRPr lang="fr-FR" dirty="0">
              <a:latin typeface="Poppins"/>
              <a:cs typeface="Poppins"/>
            </a:endParaRPr>
          </a:p>
        </p:txBody>
      </p:sp>
      <p:sp>
        <p:nvSpPr>
          <p:cNvPr id="19" name="Shape 114"/>
          <p:cNvSpPr txBox="1">
            <a:spLocks/>
          </p:cNvSpPr>
          <p:nvPr/>
        </p:nvSpPr>
        <p:spPr>
          <a:xfrm>
            <a:off x="4668241" y="5510574"/>
            <a:ext cx="2400267" cy="43081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>
            <a:noAutofit/>
          </a:bodyPr>
          <a:lstStyle>
            <a:lvl1pPr marL="0" marR="0" indent="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286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4572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6858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9144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1430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3716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6002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18288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ctr" defTabSz="412504" rtl="0" hangingPunct="0"/>
            <a:r>
              <a:rPr lang="fr" sz="1800" b="1" i="0" u="none" kern="0" baseline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Mesures adaptées</a:t>
            </a:r>
          </a:p>
        </p:txBody>
      </p:sp>
      <p:sp>
        <p:nvSpPr>
          <p:cNvPr id="20" name="Shape 114"/>
          <p:cNvSpPr txBox="1">
            <a:spLocks/>
          </p:cNvSpPr>
          <p:nvPr/>
        </p:nvSpPr>
        <p:spPr>
          <a:xfrm>
            <a:off x="9695611" y="5711927"/>
            <a:ext cx="2050925" cy="336583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>
            <a:noAutofit/>
          </a:bodyPr>
          <a:lstStyle>
            <a:lvl1pPr marL="0" marR="0" indent="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286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4572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6858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9144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1430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3716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6002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18288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ctr" defTabSz="412504" rtl="0" hangingPunct="0">
              <a:lnSpc>
                <a:spcPct val="70000"/>
              </a:lnSpc>
            </a:pPr>
            <a:r>
              <a:rPr lang="fr" sz="2000" b="1" i="0" u="none" kern="0" baseline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nstaurer la confiance</a:t>
            </a:r>
          </a:p>
        </p:txBody>
      </p:sp>
      <p:sp>
        <p:nvSpPr>
          <p:cNvPr id="21" name="Shape 114"/>
          <p:cNvSpPr txBox="1">
            <a:spLocks/>
          </p:cNvSpPr>
          <p:nvPr/>
        </p:nvSpPr>
        <p:spPr>
          <a:xfrm>
            <a:off x="6768834" y="2576905"/>
            <a:ext cx="2001388" cy="560684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>
            <a:noAutofit/>
          </a:bodyPr>
          <a:lstStyle>
            <a:lvl1pPr marL="0" marR="0" indent="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286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4572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6858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9144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1430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3716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6002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18288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ctr" defTabSz="412504" rtl="0" hangingPunct="0">
              <a:lnSpc>
                <a:spcPct val="70000"/>
              </a:lnSpc>
            </a:pPr>
            <a:r>
              <a:rPr lang="fr" sz="1800" b="1" i="0" u="none" kern="0" baseline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Activer les intentions</a:t>
            </a:r>
          </a:p>
        </p:txBody>
      </p:sp>
      <p:sp>
        <p:nvSpPr>
          <p:cNvPr id="22" name="Shape 114"/>
          <p:cNvSpPr txBox="1">
            <a:spLocks/>
          </p:cNvSpPr>
          <p:nvPr/>
        </p:nvSpPr>
        <p:spPr>
          <a:xfrm>
            <a:off x="2388573" y="4572849"/>
            <a:ext cx="1541511" cy="497975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lIns="0" tIns="0" rIns="0" bIns="0" anchor="t">
            <a:noAutofit/>
          </a:bodyPr>
          <a:lstStyle>
            <a:lvl1pPr marL="0" marR="0" indent="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1pPr>
            <a:lvl2pPr marL="0" marR="0" indent="2286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2pPr>
            <a:lvl3pPr marL="0" marR="0" indent="4572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3pPr>
            <a:lvl4pPr marL="0" marR="0" indent="6858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4pPr>
            <a:lvl5pPr marL="0" marR="0" indent="9144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5pPr>
            <a:lvl6pPr marL="0" marR="0" indent="11430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6pPr>
            <a:lvl7pPr marL="0" marR="0" indent="13716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7pPr>
            <a:lvl8pPr marL="0" marR="0" indent="16002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8pPr>
            <a:lvl9pPr marL="0" marR="0" indent="1828800" algn="l" defTabSz="825500" rtl="0" latinLnBrk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7000" b="1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+mj-lt"/>
                <a:ea typeface="+mj-ea"/>
                <a:cs typeface="+mj-cs"/>
                <a:sym typeface="Calibri"/>
              </a:defRPr>
            </a:lvl9pPr>
          </a:lstStyle>
          <a:p>
            <a:pPr algn="r" defTabSz="412504" rtl="0" hangingPunct="0">
              <a:lnSpc>
                <a:spcPct val="80000"/>
              </a:lnSpc>
            </a:pPr>
            <a:r>
              <a:rPr lang="fr" sz="2000" b="1" i="0" u="none" kern="0" baseline="0">
                <a:solidFill>
                  <a:srgbClr val="FFFFFF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éduire les obstacles</a:t>
            </a:r>
          </a:p>
        </p:txBody>
      </p:sp>
      <p:sp>
        <p:nvSpPr>
          <p:cNvPr id="14" name="Shape 123"/>
          <p:cNvSpPr/>
          <p:nvPr/>
        </p:nvSpPr>
        <p:spPr>
          <a:xfrm>
            <a:off x="4970194" y="4019682"/>
            <a:ext cx="2415340" cy="1227241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square" lIns="25391" tIns="25391" rIns="25391" bIns="25391" anchor="ctr">
            <a:spAutoFit/>
          </a:bodyPr>
          <a:lstStyle>
            <a:lvl1pPr algn="ctr">
              <a:lnSpc>
                <a:spcPct val="110000"/>
              </a:lnSpc>
              <a:spcBef>
                <a:spcPts val="2000"/>
              </a:spcBef>
              <a:defRPr sz="3200">
                <a:solidFill>
                  <a:srgbClr val="FFFFFF"/>
                </a:solidFill>
              </a:defRPr>
            </a:lvl1pPr>
          </a:lstStyle>
          <a:p>
            <a:pPr algn="l" defTabSz="412504" rtl="0" hangingPunct="0">
              <a:spcBef>
                <a:spcPts val="1000"/>
              </a:spcBef>
            </a:pPr>
            <a:r>
              <a:rPr lang="fr" sz="1400" b="1" i="0" u="none" kern="0" baseline="0">
                <a:latin typeface="Poppins" panose="00000500000000000000" pitchFamily="2" charset="0"/>
                <a:cs typeface="Poppins" panose="00000500000000000000" pitchFamily="2" charset="0"/>
                <a:sym typeface="Calibri"/>
              </a:rPr>
              <a:t>Impliquer les communautés pour améliorer la qualité et la responsabilité des services</a:t>
            </a:r>
          </a:p>
        </p:txBody>
      </p:sp>
      <p:sp>
        <p:nvSpPr>
          <p:cNvPr id="17" name="Shape 114">
            <a:extLst>
              <a:ext uri="{FF2B5EF4-FFF2-40B4-BE49-F238E27FC236}">
                <a16:creationId xmlns:a16="http://schemas.microsoft.com/office/drawing/2014/main" id="{0EBF838C-20AD-4D06-B203-289E2ECED3FE}"/>
              </a:ext>
            </a:extLst>
          </p:cNvPr>
          <p:cNvSpPr txBox="1">
            <a:spLocks/>
          </p:cNvSpPr>
          <p:nvPr/>
        </p:nvSpPr>
        <p:spPr>
          <a:xfrm>
            <a:off x="720162" y="1060010"/>
            <a:ext cx="5342448" cy="1716615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endParaRPr lang="fr" sz="2667" i="1">
              <a:solidFill>
                <a:srgbClr val="0070C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625" y="527673"/>
            <a:ext cx="6434125" cy="777875"/>
          </a:xfrm>
        </p:spPr>
        <p:txBody>
          <a:bodyPr lIns="91440" tIns="45720" rIns="91440" bIns="45720" anchor="t">
            <a:normAutofit fontScale="90000"/>
          </a:bodyPr>
          <a:lstStyle/>
          <a:p>
            <a:pPr algn="l" rtl="0"/>
            <a:r>
              <a:rPr lang="fr" sz="4000" b="1" i="0" u="none" baseline="0">
                <a:latin typeface="Poppins"/>
                <a:cs typeface="Poppins"/>
              </a:rPr>
              <a:t>La promotion de la demande va au-delà </a:t>
            </a:r>
            <a:r>
              <a:rPr lang="fr" sz="4000">
                <a:latin typeface="Poppins" panose="00000500000000000000" pitchFamily="2" charset="0"/>
                <a:cs typeface="Poppins" panose="00000500000000000000" pitchFamily="2" charset="0"/>
              </a:rPr>
              <a:t/>
            </a:r>
            <a:br>
              <a:rPr lang="fr" sz="4000">
                <a:latin typeface="Poppins" panose="00000500000000000000" pitchFamily="2" charset="0"/>
                <a:cs typeface="Poppins" panose="00000500000000000000" pitchFamily="2" charset="0"/>
              </a:rPr>
            </a:br>
            <a:r>
              <a:rPr lang="fr" sz="4000" b="1" i="0" u="none" baseline="0">
                <a:latin typeface="Poppins"/>
                <a:cs typeface="Poppins"/>
              </a:rPr>
              <a:t>de la communication</a:t>
            </a:r>
          </a:p>
        </p:txBody>
      </p:sp>
    </p:spTree>
    <p:extLst>
      <p:ext uri="{BB962C8B-B14F-4D97-AF65-F5344CB8AC3E}">
        <p14:creationId xmlns:p14="http://schemas.microsoft.com/office/powerpoint/2010/main" val="25292565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AB63BE4-E460-4222-9637-5C7365D159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fr" b="0" i="0" u="none" baseline="0"/>
              <a:t>Principaux éléments à reteni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66A570-4AAB-492B-87AA-999843AF0A1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199" y="1825625"/>
            <a:ext cx="9838571" cy="4351338"/>
          </a:xfrm>
        </p:spPr>
        <p:txBody>
          <a:bodyPr vert="horz" lIns="91440" tIns="45720" rIns="91440" bIns="45720" rtlCol="0" anchor="t">
            <a:normAutofit lnSpcReduction="10000"/>
          </a:bodyPr>
          <a:lstStyle/>
          <a:p>
            <a:r>
              <a:rPr lang="fr" b="0" i="0" u="none" baseline="0"/>
              <a:t>L'utilisation du Parcours vers la vaccination comme moyen de cartographier les informations sur une population peut être un outil de planification utile qui utilise une approche centrée sur l'humain</a:t>
            </a:r>
            <a:r>
              <a:rPr lang="fr"/>
              <a:t> </a:t>
            </a:r>
            <a:endParaRPr lang="fr" b="0" i="0" u="none" baseline="0"/>
          </a:p>
          <a:p>
            <a:pPr algn="l" rtl="0"/>
            <a:r>
              <a:rPr lang="fr" b="0" i="0" u="none" baseline="0"/>
              <a:t>Il est important de vous mettre à la place de votre population cible et d'identifier toutes les hypothèses ou lacunes dont vous disposez sur les obstacles ou les catalyseurs de la vaccination</a:t>
            </a:r>
            <a:endParaRPr lang="fr" b="0" i="0" u="none" baseline="0">
              <a:ea typeface="Calibri"/>
              <a:cs typeface="Calibri"/>
            </a:endParaRPr>
          </a:p>
          <a:p>
            <a:pPr marL="0" indent="0" algn="l" rtl="0">
              <a:buNone/>
            </a:pPr>
            <a:endParaRPr lang="fr"/>
          </a:p>
          <a:p>
            <a:pPr marL="0" indent="0" algn="l" rtl="0">
              <a:buNone/>
            </a:pPr>
            <a:r>
              <a:rPr lang="fr" b="1" i="0" u="none" baseline="0"/>
              <a:t>Ressources</a:t>
            </a:r>
            <a:endParaRPr lang="fr" b="1" i="0" u="none" baseline="0">
              <a:ea typeface="Calibri"/>
              <a:cs typeface="Calibri"/>
            </a:endParaRPr>
          </a:p>
          <a:p>
            <a:pPr marL="0" indent="0">
              <a:buNone/>
            </a:pPr>
            <a:r>
              <a:rPr lang="fr" b="0" i="0" u="none" baseline="0">
                <a:ea typeface="+mn-lt"/>
                <a:cs typeface="+mn-lt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hcd4health.org/</a:t>
            </a:r>
            <a:r>
              <a:rPr lang="fr">
                <a:ea typeface="+mn-lt"/>
                <a:cs typeface="+mn-lt"/>
                <a:hlinkClick r:id="rId2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fr</a:t>
            </a:r>
            <a:r>
              <a:rPr lang="fr">
                <a:ea typeface="+mn-lt"/>
                <a:cs typeface="+mn-lt"/>
              </a:rPr>
              <a:t> </a:t>
            </a:r>
            <a:endParaRPr lang="fr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8A7E577-FC8F-4C5C-B5CC-E2AEE96EAE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rtl="0"/>
            <a:fld id="{A1884A28-5CFC-4064-84AD-842768518835}" type="slidenum">
              <a:rPr/>
              <a:t>13</a:t>
            </a:fld>
            <a:endParaRPr lang="fr"/>
          </a:p>
        </p:txBody>
      </p:sp>
    </p:spTree>
    <p:extLst>
      <p:ext uri="{BB962C8B-B14F-4D97-AF65-F5344CB8AC3E}">
        <p14:creationId xmlns:p14="http://schemas.microsoft.com/office/powerpoint/2010/main" val="29434600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24F71CE-7241-E8A3-1EBB-0DC1AA861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8000" y="365126"/>
            <a:ext cx="9245600" cy="777875"/>
          </a:xfrm>
        </p:spPr>
        <p:txBody>
          <a:bodyPr/>
          <a:lstStyle/>
          <a:p>
            <a:pPr algn="l" rtl="0"/>
            <a:r>
              <a:rPr lang="fr" b="1" i="0" u="none" baseline="0"/>
              <a:t>Messages clé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6378129-94CA-2F96-A1FE-52359FF42B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8000" y="1447800"/>
            <a:ext cx="10515600" cy="1981200"/>
          </a:xfrm>
        </p:spPr>
        <p:txBody>
          <a:bodyPr/>
          <a:lstStyle/>
          <a:p>
            <a:pPr algn="l" rtl="0"/>
            <a:r>
              <a:rPr lang="fr" b="0" i="0" u="none" baseline="0"/>
              <a:t>L'utilisation du Parcours vers la vaccination comme moyen de cartographier les informations sur une population peut être un outil de planification utile qui utilise une approche centrée sur l'humain </a:t>
            </a:r>
          </a:p>
          <a:p>
            <a:pPr algn="l" rtl="0"/>
            <a:r>
              <a:rPr lang="fr" b="0" i="0" u="none" baseline="0"/>
              <a:t>Il est important de vous mettre à la place de votre population cible et d'identifier toutes les hypothèses ou lacunes dont vous disposez sur les obstacles ou les catalyseurs de la vaccination</a:t>
            </a:r>
          </a:p>
        </p:txBody>
      </p:sp>
      <p:pic>
        <p:nvPicPr>
          <p:cNvPr id="6" name="Content Placeholder 5" descr="Send with solid fill">
            <a:extLst>
              <a:ext uri="{FF2B5EF4-FFF2-40B4-BE49-F238E27FC236}">
                <a16:creationId xmlns:a16="http://schemas.microsoft.com/office/drawing/2014/main" id="{B56DE3AE-F319-41BB-9BF4-9026D7BCF2A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508000" y="275273"/>
            <a:ext cx="957581" cy="957581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2F3355B-FA81-4CB6-B4C8-1F9DE1C414E9}"/>
              </a:ext>
            </a:extLst>
          </p:cNvPr>
          <p:cNvSpPr txBox="1"/>
          <p:nvPr/>
        </p:nvSpPr>
        <p:spPr>
          <a:xfrm>
            <a:off x="2935834" y="4193972"/>
            <a:ext cx="6320332" cy="95410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marL="0" indent="0" algn="l" rtl="0">
              <a:buNone/>
            </a:pPr>
            <a:r>
              <a:rPr lang="fr" sz="2800" b="1" i="0" u="none" baseline="0">
                <a:latin typeface="Poppins"/>
                <a:cs typeface="Poppins"/>
              </a:rPr>
              <a:t>Ressource clé :</a:t>
            </a:r>
          </a:p>
          <a:p>
            <a:r>
              <a:rPr lang="fr" sz="2800" b="0" i="0" u="none" baseline="0"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www.hcd4health.org/</a:t>
            </a:r>
            <a:r>
              <a:rPr lang="fr" sz="2800">
                <a:ea typeface="+mn-lt"/>
                <a:cs typeface="+mn-lt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fr</a:t>
            </a:r>
            <a:r>
              <a:rPr lang="fr" sz="2800">
                <a:ea typeface="+mn-lt"/>
                <a:cs typeface="+mn-lt"/>
              </a:rPr>
              <a:t> </a:t>
            </a:r>
            <a:endParaRPr lang="fr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00F24AB-4864-46E3-8475-E6AB87BF1A8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1323478">
            <a:off x="1070580" y="3796293"/>
            <a:ext cx="1637488" cy="211312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27472969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E79ECC5B-6B64-38FC-0EB6-5A7EFB986E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343" y="2293472"/>
            <a:ext cx="10515600" cy="1326091"/>
          </a:xfrm>
        </p:spPr>
        <p:txBody>
          <a:bodyPr/>
          <a:lstStyle/>
          <a:p>
            <a:pPr algn="l" rtl="0"/>
            <a:r>
              <a:rPr lang="fr" sz="7200" b="1" i="0" u="none" baseline="0"/>
              <a:t>Des questions ?</a:t>
            </a:r>
          </a:p>
        </p:txBody>
      </p:sp>
      <p:pic>
        <p:nvPicPr>
          <p:cNvPr id="3" name="Picture 6">
            <a:extLst>
              <a:ext uri="{FF2B5EF4-FFF2-40B4-BE49-F238E27FC236}">
                <a16:creationId xmlns:a16="http://schemas.microsoft.com/office/drawing/2014/main" id="{188C8836-E7C5-4E71-8A7D-8AAFB77D17F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p:blipFill>
        <p:spPr>
          <a:xfrm>
            <a:off x="8128000" y="1803400"/>
            <a:ext cx="2993943" cy="274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508395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292795F-F790-4C93-8EC9-722BD7B1672A}"/>
              </a:ext>
            </a:extLst>
          </p:cNvPr>
          <p:cNvSpPr txBox="1">
            <a:spLocks/>
          </p:cNvSpPr>
          <p:nvPr/>
        </p:nvSpPr>
        <p:spPr>
          <a:xfrm>
            <a:off x="2235200" y="2616201"/>
            <a:ext cx="7924800" cy="132609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0800" kern="1200">
                <a:solidFill>
                  <a:schemeClr val="tx1"/>
                </a:solidFill>
                <a:latin typeface="Poppins" pitchFamily="2" charset="77"/>
                <a:ea typeface="+mj-ea"/>
                <a:cs typeface="Poppins" pitchFamily="2" charset="77"/>
              </a:defRPr>
            </a:lvl1pPr>
          </a:lstStyle>
          <a:p>
            <a:pPr algn="l" defTabSz="609630" rtl="0"/>
            <a:r>
              <a:rPr lang="fr" sz="6600" b="1" i="0" u="none" baseline="0">
                <a:solidFill>
                  <a:srgbClr val="0B81D5"/>
                </a:solidFill>
                <a:latin typeface="Poppins ExtraBold" pitchFamily="2" charset="77"/>
                <a:cs typeface="Poppins ExtraBold" pitchFamily="2" charset="77"/>
              </a:rPr>
              <a:t>Diapositives supplémentaires</a:t>
            </a:r>
          </a:p>
        </p:txBody>
      </p:sp>
    </p:spTree>
    <p:extLst>
      <p:ext uri="{BB962C8B-B14F-4D97-AF65-F5344CB8AC3E}">
        <p14:creationId xmlns:p14="http://schemas.microsoft.com/office/powerpoint/2010/main" val="13227544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2272BB-2F5F-40A5-9A2D-CB63EA6E60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32436" y="747302"/>
            <a:ext cx="6725558" cy="5503907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152400" indent="-152400" algn="l" rtl="0">
              <a:buNone/>
            </a:pPr>
            <a:r>
              <a:rPr lang="fr" sz="1600" b="1" i="0" u="none" baseline="0">
                <a:latin typeface="Poppins"/>
                <a:cs typeface="Poppins"/>
              </a:rPr>
              <a:t>Somalie : « personne n'est en sécurité tant que tout le monde n'est pas en sécurité » : </a:t>
            </a:r>
            <a:r>
              <a:rPr lang="fr" sz="1600" b="0" i="1" u="none" baseline="0">
                <a:latin typeface="Poppins"/>
                <a:cs typeface="Poppins"/>
              </a:rPr>
              <a:t>Déploiement des vaccins contre la COVID-19 dans les camps de personnes déplacées à l'intérieur de leur propre pays au Somaliland</a:t>
            </a:r>
            <a:endParaRPr lang="fr-FR">
              <a:latin typeface="Poppins"/>
              <a:cs typeface="Poppins"/>
            </a:endParaRPr>
          </a:p>
          <a:p>
            <a:pPr marL="152400" indent="-152400">
              <a:buNone/>
            </a:pPr>
            <a:r>
              <a:rPr lang="fr" sz="1600" b="1" i="0" u="none" baseline="0">
                <a:latin typeface="Poppins"/>
                <a:cs typeface="Poppins"/>
              </a:rPr>
              <a:t>Population cible : </a:t>
            </a:r>
            <a:r>
              <a:rPr lang="fr" sz="1600" b="0" i="0" u="none" baseline="0">
                <a:latin typeface="Poppins"/>
                <a:cs typeface="Poppins"/>
              </a:rPr>
              <a:t>Les personnes déplacées à l'intérieur de leur propre pays et les réfugiés ; les demandeurs d'asile et les migrants</a:t>
            </a:r>
            <a:r>
              <a:rPr lang="fr" sz="1600">
                <a:latin typeface="Poppins"/>
                <a:cs typeface="Poppins"/>
              </a:rPr>
              <a:t> </a:t>
            </a:r>
            <a:endParaRPr lang="fr" sz="1600" b="0" i="0" u="none" baseline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52400" indent="-152400">
              <a:buNone/>
            </a:pPr>
            <a:r>
              <a:rPr lang="fr" sz="1600" b="1" i="0" u="none" baseline="0">
                <a:latin typeface="Poppins"/>
                <a:cs typeface="Poppins"/>
              </a:rPr>
              <a:t>Stratégies et interventions :</a:t>
            </a:r>
            <a:r>
              <a:rPr lang="fr" sz="1600">
                <a:latin typeface="Poppins"/>
                <a:cs typeface="Poppins"/>
              </a:rPr>
              <a:t> </a:t>
            </a:r>
            <a:endParaRPr lang="fr" sz="1600" b="0" i="0" u="none" baseline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 algn="l" rtl="0">
              <a:buFont typeface="Arial" panose="020B0604020202020204" pitchFamily="34" charset="0"/>
              <a:buChar char="•"/>
            </a:pPr>
            <a:r>
              <a:rPr lang="fr" sz="1600" b="0" i="0" u="none" baseline="0">
                <a:latin typeface="Poppins"/>
                <a:cs typeface="Poppins"/>
              </a:rPr>
              <a:t>Inclusion des personnes déplacées dans les plans de vaccination contre la COVID-19.</a:t>
            </a:r>
          </a:p>
          <a:p>
            <a:pPr marL="342900" indent="-342900" algn="l" rtl="0">
              <a:buFont typeface="Arial" panose="020B0604020202020204" pitchFamily="34" charset="0"/>
              <a:buChar char="•"/>
            </a:pPr>
            <a:r>
              <a:rPr lang="fr" sz="1600" b="0" i="0" u="none" baseline="0">
                <a:latin typeface="Poppins"/>
                <a:cs typeface="Poppins"/>
              </a:rPr>
              <a:t>Participation de leaders communautaires à des visites de maison en maison pour atteindre plus de 500 familles</a:t>
            </a:r>
          </a:p>
          <a:p>
            <a:pPr marL="342900" indent="-342900" algn="l" rtl="0">
              <a:buFont typeface="Arial" panose="020B0604020202020204" pitchFamily="34" charset="0"/>
              <a:buChar char="•"/>
            </a:pPr>
            <a:r>
              <a:rPr lang="fr" sz="1600" b="0" i="0" u="none" baseline="0">
                <a:latin typeface="Poppins"/>
                <a:cs typeface="Poppins"/>
              </a:rPr>
              <a:t>Organiser le transport de certaines personnes faibles et des personnes qui ne pouvaient pas marcher jusqu'aux centres de santé</a:t>
            </a:r>
            <a:endParaRPr lang="fr" sz="1600">
              <a:latin typeface="Poppins"/>
              <a:cs typeface="Poppins"/>
            </a:endParaRPr>
          </a:p>
          <a:p>
            <a:pPr marL="342900" indent="-342900"/>
            <a:r>
              <a:rPr lang="fr" sz="1600" b="0" i="0" u="none" baseline="0">
                <a:solidFill>
                  <a:srgbClr val="C00000"/>
                </a:solidFill>
                <a:latin typeface="Poppins"/>
                <a:cs typeface="Poppins"/>
              </a:rPr>
              <a:t>En utilisant des canaux de communication locaux (des haut-parleurs),</a:t>
            </a:r>
            <a:r>
              <a:rPr lang="fr" sz="1600">
                <a:solidFill>
                  <a:srgbClr val="C00000"/>
                </a:solidFill>
                <a:latin typeface="Poppins"/>
                <a:cs typeface="Poppins"/>
              </a:rPr>
              <a:t> des  rencontres</a:t>
            </a:r>
            <a:r>
              <a:rPr lang="fr" sz="1600" b="0" i="0" u="none" baseline="0">
                <a:solidFill>
                  <a:srgbClr val="C00000"/>
                </a:solidFill>
                <a:latin typeface="Poppins"/>
                <a:cs typeface="Poppins"/>
              </a:rPr>
              <a:t> </a:t>
            </a:r>
            <a:r>
              <a:rPr lang="fr" sz="1600">
                <a:solidFill>
                  <a:srgbClr val="C00000"/>
                </a:solidFill>
                <a:latin typeface="Poppins"/>
                <a:cs typeface="Poppins"/>
              </a:rPr>
              <a:t>avec </a:t>
            </a:r>
            <a:r>
              <a:rPr lang="fr" sz="1600" b="0" i="0" u="none" baseline="0">
                <a:solidFill>
                  <a:srgbClr val="C00000"/>
                </a:solidFill>
                <a:latin typeface="Poppins"/>
                <a:cs typeface="Poppins"/>
              </a:rPr>
              <a:t>les personnes résidant dans les camps, en particulier les personnes âgées et les personnes atteintes de problèmes de santé, tels que le diabète, </a:t>
            </a:r>
            <a:r>
              <a:rPr lang="fr" sz="1600">
                <a:solidFill>
                  <a:srgbClr val="C00000"/>
                </a:solidFill>
                <a:latin typeface="Poppins"/>
                <a:cs typeface="Poppins"/>
              </a:rPr>
              <a:t>pour les encourager à</a:t>
            </a:r>
            <a:r>
              <a:rPr lang="fr" sz="1600" b="0" i="0" u="none" baseline="0">
                <a:solidFill>
                  <a:srgbClr val="C00000"/>
                </a:solidFill>
                <a:latin typeface="Poppins"/>
                <a:cs typeface="Poppins"/>
              </a:rPr>
              <a:t> se rendre au centre de santé et à se faire vacciner</a:t>
            </a:r>
          </a:p>
          <a:p>
            <a:pPr marL="152400" indent="-152400" algn="l" rtl="0">
              <a:buNone/>
            </a:pPr>
            <a:endParaRPr lang="fr" sz="16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12" name="Content Placeholder 11" descr="A picture containing text&#10;&#10;Description automatically generated">
            <a:extLst>
              <a:ext uri="{FF2B5EF4-FFF2-40B4-BE49-F238E27FC236}">
                <a16:creationId xmlns:a16="http://schemas.microsoft.com/office/drawing/2014/main" id="{CF46C36A-B731-48E0-BBF9-25DA0AF8EDC6}"/>
              </a:ext>
            </a:extLst>
          </p:cNvPr>
          <p:cNvPicPr>
            <a:picLocks noGrp="1" noChangeAspect="1"/>
          </p:cNvPicPr>
          <p:nvPr>
            <p:ph sz="half" idx="4294967295"/>
          </p:nvPr>
        </p:nvPicPr>
        <p:blipFill>
          <a:blip r:embed="rId3"/>
          <a:stretch>
            <a:fillRect/>
          </a:stretch>
        </p:blipFill>
        <p:spPr>
          <a:xfrm>
            <a:off x="7230943" y="581085"/>
            <a:ext cx="4766852" cy="2257742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0FD2B6E3-5B59-4BFF-99AF-232D162E95AE}"/>
              </a:ext>
            </a:extLst>
          </p:cNvPr>
          <p:cNvSpPr txBox="1">
            <a:spLocks/>
          </p:cNvSpPr>
          <p:nvPr/>
        </p:nvSpPr>
        <p:spPr>
          <a:xfrm>
            <a:off x="256032" y="23649"/>
            <a:ext cx="12192000" cy="824948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fr" sz="2800" b="1" i="0" u="none" baseline="0">
                <a:latin typeface="Poppins" panose="00000500000000000000" pitchFamily="2" charset="0"/>
                <a:cs typeface="Poppins" panose="00000500000000000000" pitchFamily="2" charset="0"/>
              </a:rPr>
              <a:t>Exemple de pays : Somali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25D1A3-F5C0-4D20-ACBF-69B8BA112E02}"/>
              </a:ext>
            </a:extLst>
          </p:cNvPr>
          <p:cNvSpPr/>
          <p:nvPr/>
        </p:nvSpPr>
        <p:spPr>
          <a:xfrm>
            <a:off x="7440666" y="3606879"/>
            <a:ext cx="418693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/>
            <a:r>
              <a:rPr lang="fr" b="1" i="0" u="none" baseline="0">
                <a:solidFill>
                  <a:srgbClr val="333333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ésultat :</a:t>
            </a:r>
            <a:r>
              <a:rPr lang="fr" b="0" i="0" u="none" baseline="0">
                <a:solidFill>
                  <a:srgbClr val="333333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Selon les estimations, plus de 11 700 personnes déplacées ont été vaccinées avec succès grâce à ces efforts de plaidoyer.</a:t>
            </a:r>
            <a:endParaRPr lang="fr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F8E2191-3C45-426D-A043-9A4A23576277}"/>
              </a:ext>
            </a:extLst>
          </p:cNvPr>
          <p:cNvSpPr/>
          <p:nvPr/>
        </p:nvSpPr>
        <p:spPr>
          <a:xfrm>
            <a:off x="7225006" y="3004022"/>
            <a:ext cx="391668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/>
            <a:r>
              <a:rPr lang="fr" sz="1200" b="0" i="0" u="none" baseline="0">
                <a:solidFill>
                  <a:schemeClr val="bg1">
                    <a:lumMod val="75000"/>
                  </a:schemeClr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Crédit photo : UNICEF Soudan du Sud.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46F76EE-CCB0-4823-8B43-2EDC916DD506}"/>
              </a:ext>
            </a:extLst>
          </p:cNvPr>
          <p:cNvSpPr/>
          <p:nvPr/>
        </p:nvSpPr>
        <p:spPr>
          <a:xfrm>
            <a:off x="7440666" y="5348727"/>
            <a:ext cx="2877514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/>
            <a:r>
              <a:rPr lang="fr" sz="1100" b="0" i="0" u="none" baseline="0">
                <a:latin typeface="Poppins" panose="00000500000000000000" pitchFamily="2" charset="0"/>
                <a:cs typeface="Poppins" panose="00000500000000000000" pitchFamily="2" charset="0"/>
                <a:hlinkClick r:id="rId4"/>
              </a:rPr>
              <a:t>Source : https://www.unicef.org/somalia/stories/no-one-safe-until-everyone-safe</a:t>
            </a:r>
            <a:endParaRPr lang="fr" sz="110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endParaRPr lang="fr" sz="11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5440441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D91932-E322-49ED-8518-7DA30CA961E3}"/>
              </a:ext>
            </a:extLst>
          </p:cNvPr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/>
          <a:p>
            <a:pPr algn="l" rtl="0"/>
            <a:r>
              <a:rPr lang="fr" sz="3600" b="1" i="0" u="none" baseline="0"/>
              <a:t>Exemple de pays : Ind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D2272BB-2F5F-40A5-9A2D-CB63EA6E60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9415" y="1235631"/>
            <a:ext cx="6383951" cy="4780490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 algn="l" rtl="0">
              <a:buNone/>
            </a:pPr>
            <a:r>
              <a:rPr lang="fr" sz="1800" b="1" i="0" u="none" baseline="0">
                <a:latin typeface="Poppins"/>
                <a:cs typeface="Poppins"/>
              </a:rPr>
              <a:t>Inde : </a:t>
            </a:r>
            <a:r>
              <a:rPr lang="fr" sz="1800" b="0" i="0" u="none" baseline="0">
                <a:latin typeface="Poppins"/>
                <a:cs typeface="Poppins"/>
              </a:rPr>
              <a:t>L'accès à la population est difficile</a:t>
            </a:r>
            <a:endParaRPr lang="fr" sz="1800" i="1">
              <a:latin typeface="Poppins"/>
              <a:cs typeface="Poppins"/>
            </a:endParaRPr>
          </a:p>
          <a:p>
            <a:pPr marL="152400" indent="-152400">
              <a:buNone/>
            </a:pPr>
            <a:r>
              <a:rPr lang="fr" sz="1800" b="1" i="0" u="none" baseline="0">
                <a:latin typeface="Poppins"/>
                <a:cs typeface="Poppins"/>
              </a:rPr>
              <a:t>Population cible : </a:t>
            </a:r>
            <a:r>
              <a:rPr lang="fr" sz="1800" b="0" i="0" u="none" baseline="0">
                <a:latin typeface="Poppins"/>
                <a:cs typeface="Poppins"/>
              </a:rPr>
              <a:t>les populations tribales, en particulier les femmes en terrain difficile des districts de </a:t>
            </a:r>
            <a:r>
              <a:rPr lang="fr" sz="1800" b="0" i="0" u="none" baseline="0" err="1">
                <a:latin typeface="Poppins"/>
                <a:cs typeface="Poppins"/>
              </a:rPr>
              <a:t>Reodar</a:t>
            </a:r>
            <a:r>
              <a:rPr lang="fr" sz="1800" b="0" i="0" u="none" baseline="0">
                <a:latin typeface="Poppins"/>
                <a:cs typeface="Poppins"/>
              </a:rPr>
              <a:t> et </a:t>
            </a:r>
            <a:r>
              <a:rPr lang="fr" sz="1800" b="0" i="0" u="none" baseline="0" err="1">
                <a:latin typeface="Poppins"/>
                <a:cs typeface="Poppins"/>
              </a:rPr>
              <a:t>Sirohi</a:t>
            </a:r>
            <a:r>
              <a:rPr lang="fr" sz="1800">
                <a:latin typeface="Poppins"/>
                <a:cs typeface="Poppins"/>
              </a:rPr>
              <a:t> </a:t>
            </a:r>
            <a:endParaRPr lang="fr" sz="1800" b="0" i="0" u="none" baseline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52400" indent="-152400" algn="l" rtl="0">
              <a:buNone/>
            </a:pPr>
            <a:r>
              <a:rPr lang="fr" sz="1800" b="1" i="0" u="none" baseline="0">
                <a:latin typeface="Poppins"/>
                <a:cs typeface="Poppins"/>
              </a:rPr>
              <a:t>Problème : </a:t>
            </a:r>
            <a:r>
              <a:rPr lang="fr" sz="1800" b="0" i="0" u="none" baseline="0">
                <a:latin typeface="Poppins"/>
                <a:cs typeface="Poppins"/>
              </a:rPr>
              <a:t>réticence face à la vaccination, difficulté de faire vacciner les femmes</a:t>
            </a:r>
          </a:p>
          <a:p>
            <a:pPr marL="152400" indent="-152400">
              <a:buNone/>
            </a:pPr>
            <a:r>
              <a:rPr lang="fr" sz="1800" b="1" i="0" u="none" baseline="0">
                <a:latin typeface="Poppins"/>
                <a:cs typeface="Poppins"/>
              </a:rPr>
              <a:t>Stratégies et interventions :</a:t>
            </a:r>
            <a:r>
              <a:rPr lang="fr" sz="1800">
                <a:latin typeface="Poppins"/>
                <a:cs typeface="Poppins"/>
              </a:rPr>
              <a:t> </a:t>
            </a:r>
            <a:endParaRPr lang="fr" sz="1800" b="0" i="0" u="none" baseline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>
              <a:lnSpc>
                <a:spcPts val="2400"/>
              </a:lnSpc>
              <a:spcBef>
                <a:spcPts val="0"/>
              </a:spcBef>
            </a:pPr>
            <a:r>
              <a:rPr lang="fr" sz="1800" b="0" i="0" u="none" baseline="0">
                <a:latin typeface="Poppins"/>
                <a:cs typeface="Poppins"/>
              </a:rPr>
              <a:t>Mobilisation et visites </a:t>
            </a:r>
            <a:r>
              <a:rPr lang="fr" sz="1800">
                <a:latin typeface="Poppins Light"/>
                <a:cs typeface="Poppins Light"/>
              </a:rPr>
              <a:t>en porte à porte </a:t>
            </a:r>
            <a:r>
              <a:rPr lang="fr" sz="1800" b="0" i="0" u="none" baseline="0">
                <a:latin typeface="Poppins"/>
                <a:cs typeface="Poppins"/>
              </a:rPr>
              <a:t>grâce à un partenariat avec une ONG locale</a:t>
            </a:r>
          </a:p>
          <a:p>
            <a:pPr marL="342900" indent="-342900">
              <a:lnSpc>
                <a:spcPts val="2400"/>
              </a:lnSpc>
              <a:spcBef>
                <a:spcPts val="0"/>
              </a:spcBef>
            </a:pPr>
            <a:r>
              <a:rPr lang="fr" sz="1800" b="0" i="0" u="none" baseline="0">
                <a:latin typeface="Poppins"/>
                <a:cs typeface="Poppins"/>
              </a:rPr>
              <a:t>Engagement des membres du </a:t>
            </a:r>
            <a:r>
              <a:rPr lang="fr" sz="1800" b="0" i="0" u="none" baseline="0" err="1">
                <a:latin typeface="Poppins"/>
                <a:cs typeface="Poppins"/>
              </a:rPr>
              <a:t>Panchayat</a:t>
            </a:r>
            <a:r>
              <a:rPr lang="fr" sz="1800" b="0" i="0" u="none" baseline="0">
                <a:latin typeface="Poppins"/>
                <a:cs typeface="Poppins"/>
              </a:rPr>
              <a:t> pour surmonter la réticence envers les vaccins</a:t>
            </a:r>
            <a:r>
              <a:rPr lang="fr" sz="1800">
                <a:latin typeface="Poppins"/>
                <a:cs typeface="Poppins"/>
              </a:rPr>
              <a:t> </a:t>
            </a:r>
            <a:endParaRPr lang="fr" sz="1800" b="0" i="0" u="none" baseline="0"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342900" indent="-342900" algn="l" rtl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" sz="1800" b="0" i="0" u="none" baseline="0">
                <a:latin typeface="Poppins"/>
                <a:cs typeface="Poppins"/>
              </a:rPr>
              <a:t>Communiquer dans leurs langues et dialectes locaux par le biais de mobilisateurs locaux</a:t>
            </a:r>
          </a:p>
          <a:p>
            <a:pPr marL="342900" indent="-342900" algn="l" rtl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" sz="1800" b="0" i="0" u="none" baseline="0">
                <a:latin typeface="Poppins"/>
                <a:cs typeface="Poppins"/>
              </a:rPr>
              <a:t>Matériel visuel développé dans les langues locales pour des communautés spécifiques</a:t>
            </a:r>
          </a:p>
          <a:p>
            <a:pPr marL="342900" indent="-342900" algn="l" rtl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fr" sz="1800" b="0" i="0" u="none" baseline="0">
                <a:solidFill>
                  <a:srgbClr val="C00000"/>
                </a:solidFill>
                <a:latin typeface="Poppins"/>
                <a:cs typeface="Poppins"/>
              </a:rPr>
              <a:t>Dans certains cas, organiser le transport vers les sites de vaccination</a:t>
            </a:r>
            <a:endParaRPr lang="fr" sz="1800">
              <a:latin typeface="Poppins"/>
              <a:cs typeface="Poppins"/>
            </a:endParaRPr>
          </a:p>
        </p:txBody>
      </p:sp>
      <p:pic>
        <p:nvPicPr>
          <p:cNvPr id="6" name="Content Placeholder 5">
            <a:extLst>
              <a:ext uri="{FF2B5EF4-FFF2-40B4-BE49-F238E27FC236}">
                <a16:creationId xmlns:a16="http://schemas.microsoft.com/office/drawing/2014/main" id="{AECE1555-8ACB-41D7-8791-B5DC7F2F6421}"/>
              </a:ext>
            </a:extLst>
          </p:cNvPr>
          <p:cNvPicPr>
            <a:picLocks noGrp="1" noChangeAspect="1"/>
          </p:cNvPicPr>
          <p:nvPr>
            <p:ph sz="half" idx="4294967295"/>
          </p:nvPr>
        </p:nvPicPr>
        <p:blipFill>
          <a:blip r:embed="rId3"/>
          <a:stretch>
            <a:fillRect/>
          </a:stretch>
        </p:blipFill>
        <p:spPr>
          <a:xfrm>
            <a:off x="6788680" y="1235631"/>
            <a:ext cx="5368925" cy="2416175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FF25D1A3-F5C0-4D20-ACBF-69B8BA112E02}"/>
              </a:ext>
            </a:extLst>
          </p:cNvPr>
          <p:cNvSpPr/>
          <p:nvPr/>
        </p:nvSpPr>
        <p:spPr>
          <a:xfrm>
            <a:off x="7020174" y="3743863"/>
            <a:ext cx="471455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rtl="0"/>
            <a:r>
              <a:rPr lang="fr" b="1" i="0" u="none" baseline="0">
                <a:solidFill>
                  <a:srgbClr val="333333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ésultat :</a:t>
            </a:r>
            <a:r>
              <a:rPr lang="fr" b="0" i="0" u="none" baseline="0">
                <a:solidFill>
                  <a:srgbClr val="333333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les femmes qui exprimaient de la résistance sont maintenant complètement vaccinées dans de nombreux cas et motivent également d'autres à se faire vacciner</a:t>
            </a:r>
            <a:endParaRPr lang="fr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92559CF-4377-4F79-ACAB-71F35F4E89A8}"/>
              </a:ext>
            </a:extLst>
          </p:cNvPr>
          <p:cNvSpPr txBox="1"/>
          <p:nvPr/>
        </p:nvSpPr>
        <p:spPr>
          <a:xfrm>
            <a:off x="5574183" y="5984875"/>
            <a:ext cx="6320332" cy="3662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>
              <a:lnSpc>
                <a:spcPts val="2400"/>
              </a:lnSpc>
              <a:spcBef>
                <a:spcPts val="0"/>
              </a:spcBef>
              <a:spcAft>
                <a:spcPts val="0"/>
              </a:spcAft>
            </a:pPr>
            <a:r>
              <a:rPr lang="fr" sz="1100" b="0" i="0" u="none" baseline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ource : </a:t>
            </a:r>
            <a:r>
              <a:rPr lang="fr" sz="1100" b="0" i="0" u="none" baseline="0">
                <a:solidFill>
                  <a:schemeClr val="accent1"/>
                </a:solidFill>
                <a:latin typeface="Poppins" panose="00000500000000000000" pitchFamily="2" charset="0"/>
                <a:cs typeface="Poppins" panose="00000500000000000000" pitchFamily="2" charset="0"/>
                <a:hlinkClick r:id="rId4">
                  <a:extLst>
                    <a:ext uri="{A12FA001-AC4F-418D-AE19-62706E023703}">
                      <ahyp:hlinkClr xmlns:ahyp="http://schemas.microsoft.com/office/drawing/2018/hyperlinkcolor" xmlns="" val="tx"/>
                    </a:ext>
                  </a:extLst>
                </a:hlinkClick>
              </a:rPr>
              <a:t>https://mailchi.mp/18dac6b0b1b7/behaviour-change-matters</a:t>
            </a:r>
            <a:endParaRPr lang="fr" sz="1100">
              <a:solidFill>
                <a:schemeClr val="accent1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191170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324F71CE-7241-E8A3-1EBB-0DC1AA8616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2400" y="365126"/>
            <a:ext cx="9601200" cy="777875"/>
          </a:xfrm>
        </p:spPr>
        <p:txBody>
          <a:bodyPr/>
          <a:lstStyle/>
          <a:p>
            <a:pPr algn="l" rtl="0"/>
            <a:r>
              <a:rPr lang="fr" b="1" i="0" u="none" baseline="0"/>
              <a:t>Objectifs d’apprentissag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6378129-94CA-2F96-A1FE-52359FF42BF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8000" y="1346200"/>
            <a:ext cx="10515600" cy="4831292"/>
          </a:xfrm>
        </p:spPr>
        <p:txBody>
          <a:bodyPr/>
          <a:lstStyle/>
          <a:p>
            <a:pPr marL="0" indent="0" algn="l" rtl="0">
              <a:buNone/>
            </a:pPr>
            <a:r>
              <a:rPr lang="fr" b="0" i="0" u="none" baseline="0"/>
              <a:t>Les participants pourront…</a:t>
            </a:r>
          </a:p>
          <a:p>
            <a:pPr marL="0" indent="0" algn="l" rtl="0">
              <a:buNone/>
            </a:pPr>
            <a:endParaRPr lang="fr"/>
          </a:p>
          <a:p>
            <a:pPr algn="l" rtl="0">
              <a:buFont typeface="Wingdings" panose="05000000000000000000" pitchFamily="2" charset="2"/>
              <a:buChar char="§"/>
            </a:pPr>
            <a:r>
              <a:rPr lang="fr" sz="2000" b="0" i="0" u="none" baseline="0"/>
              <a:t>Comprendre les facteurs individuels, interpersonnels, communautaires, systémiques et politiques qui peuvent influencer le comportement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fr" sz="2000" b="0" i="0" u="none" baseline="0"/>
              <a:t>Être initiés à l'importance d'utiliser des stratégies adaptées pour répondre aux besoins à divers stades du parcours vers la vaccination</a:t>
            </a:r>
          </a:p>
          <a:p>
            <a:pPr algn="l" rtl="0">
              <a:buFont typeface="Wingdings" panose="05000000000000000000" pitchFamily="2" charset="2"/>
              <a:buChar char="§"/>
            </a:pPr>
            <a:r>
              <a:rPr lang="fr" sz="2000" b="0" i="0" u="none" baseline="0"/>
              <a:t>Découvrir comment des interventions simples, novatrices et efficaces peuvent contribuer à promouvoir la demande de vaccination à différents stades </a:t>
            </a:r>
          </a:p>
          <a:p>
            <a:endParaRPr lang="fr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BEABA43-FA18-4190-B1C9-C9B2DFFED99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3"/>
              </a:ext>
            </a:extLst>
          </a:blip>
          <a:srcRect/>
          <a:stretch>
            <a:fillRect/>
          </a:stretch>
        </p:blipFill>
        <p:spPr>
          <a:xfrm>
            <a:off x="492125" y="365126"/>
            <a:ext cx="777875" cy="777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5548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A11B9C-C5F9-4336-80D8-05E26021966C}"/>
              </a:ext>
            </a:extLst>
          </p:cNvPr>
          <p:cNvSpPr txBox="1">
            <a:spLocks/>
          </p:cNvSpPr>
          <p:nvPr/>
        </p:nvSpPr>
        <p:spPr>
          <a:xfrm>
            <a:off x="250748" y="240640"/>
            <a:ext cx="6844995" cy="132609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0800" kern="1200">
                <a:solidFill>
                  <a:schemeClr val="tx1"/>
                </a:solidFill>
                <a:latin typeface="Poppins" pitchFamily="2" charset="77"/>
                <a:ea typeface="+mj-ea"/>
                <a:cs typeface="Poppins" pitchFamily="2" charset="77"/>
              </a:defRPr>
            </a:lvl1pPr>
          </a:lstStyle>
          <a:p>
            <a:pPr marL="0" marR="0" lvl="0" indent="0" algn="l" defTabSz="60963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" sz="4800" b="1" i="0" u="none" strike="noStrike" kern="120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Poppins ExtraBold" pitchFamily="2" charset="77"/>
                <a:ea typeface="+mj-ea"/>
                <a:cs typeface="Poppins ExtraBold" pitchFamily="2" charset="77"/>
              </a:rPr>
              <a:t>Inspira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1BC768A-2D3F-4018-A77A-DB59270D5618}"/>
              </a:ext>
            </a:extLst>
          </p:cNvPr>
          <p:cNvSpPr txBox="1"/>
          <p:nvPr/>
        </p:nvSpPr>
        <p:spPr>
          <a:xfrm>
            <a:off x="5369356" y="6056986"/>
            <a:ext cx="587410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rtl="0"/>
            <a:r>
              <a:rPr lang="fr" sz="2400" b="0" i="0" u="none" baseline="0">
                <a:latin typeface="Poppins" panose="00000500000000000000" pitchFamily="2" charset="0"/>
                <a:cs typeface="Poppins" panose="00000500000000000000" pitchFamily="2" charset="0"/>
              </a:rPr>
              <a:t>Exprimez vos idées dans Slido !</a:t>
            </a:r>
          </a:p>
        </p:txBody>
      </p:sp>
      <p:pic>
        <p:nvPicPr>
          <p:cNvPr id="7" name="Online Media 6" title="Building Confidence in COVID-19 Vaccines in Niger">
            <a:hlinkClick r:id="" action="ppaction://media"/>
            <a:extLst>
              <a:ext uri="{FF2B5EF4-FFF2-40B4-BE49-F238E27FC236}">
                <a16:creationId xmlns:a16="http://schemas.microsoft.com/office/drawing/2014/main" id="{1DB233C4-C256-4AB8-979C-2BF0B88A80C0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4138372" y="240640"/>
            <a:ext cx="7470851" cy="5603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277970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80000">
                <p:cTn id="2" fill="hold" display="0">
                  <p:stCondLst>
                    <p:cond delay="indefinite"/>
                  </p:stCondLst>
                </p:cTn>
                <p:tgtEl>
                  <p:spTgt spid="7"/>
                </p:tgtEl>
              </p:cMediaNode>
            </p:video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96537" y="1972843"/>
            <a:ext cx="7033971" cy="777875"/>
          </a:xfrm>
        </p:spPr>
        <p:txBody>
          <a:bodyPr lIns="91440" tIns="45720" rIns="91440" bIns="45720" anchor="t"/>
          <a:lstStyle/>
          <a:p>
            <a:r>
              <a:rPr lang="fr" sz="4400" b="1" i="0" u="none" baseline="0">
                <a:latin typeface="Poppins"/>
                <a:cs typeface="Poppins"/>
              </a:rPr>
              <a:t>EXERCICE SUR LE PARCOURS VERS LA </a:t>
            </a:r>
            <a:r>
              <a:rPr lang="fr" sz="4400">
                <a:latin typeface="Poppins"/>
                <a:cs typeface="Poppins"/>
              </a:rPr>
              <a:t/>
            </a:r>
            <a:br>
              <a:rPr lang="fr" sz="4400">
                <a:latin typeface="Poppins"/>
                <a:cs typeface="Poppins"/>
              </a:rPr>
            </a:br>
            <a:r>
              <a:rPr lang="fr" sz="4400" b="1" i="0" u="none" baseline="0">
                <a:latin typeface="Poppins"/>
                <a:cs typeface="Poppins"/>
              </a:rPr>
              <a:t>VACCINATION</a:t>
            </a:r>
            <a:endParaRPr lang="fr" sz="4400" b="1">
              <a:latin typeface="Poppins"/>
              <a:cs typeface="Poppins"/>
            </a:endParaRPr>
          </a:p>
        </p:txBody>
      </p:sp>
      <p:pic>
        <p:nvPicPr>
          <p:cNvPr id="4100" name="Picture 4" descr="On 10 February 2022, Anathi Wangisi, a professional nurse with the Gauteng Department of Health, administers a COVID-19 vaccine to Theresa Sithole at a pop-up vaccination site in Rebonwe Park in Ivory Park, Thembisa, South Africa.">
            <a:extLst>
              <a:ext uri="{FF2B5EF4-FFF2-40B4-BE49-F238E27FC236}">
                <a16:creationId xmlns:a16="http://schemas.microsoft.com/office/drawing/2014/main" id="{52A67BDB-6C02-41A3-9ACD-F26B4069CB7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257" y="915859"/>
            <a:ext cx="4476903" cy="29846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0715800-8765-4362-AD5F-2DD5CCE3646B}"/>
              </a:ext>
            </a:extLst>
          </p:cNvPr>
          <p:cNvSpPr txBox="1"/>
          <p:nvPr/>
        </p:nvSpPr>
        <p:spPr>
          <a:xfrm>
            <a:off x="305257" y="3939764"/>
            <a:ext cx="624718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/>
            <a:r>
              <a:rPr lang="fr" sz="1200" b="0" i="0" u="none" baseline="0">
                <a:solidFill>
                  <a:srgbClr val="C1C1C1"/>
                </a:solidFill>
                <a:effectLst/>
                <a:latin typeface="Poppins" panose="00000500000000000000" pitchFamily="2" charset="0"/>
                <a:cs typeface="Poppins" panose="00000500000000000000" pitchFamily="2" charset="0"/>
              </a:rPr>
              <a:t>UNICEF/UN0595747/Paul</a:t>
            </a:r>
            <a:endParaRPr lang="fr" sz="1200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4102" name="Picture 6" descr="woman in black and white floral dress sitting on chair">
            <a:extLst>
              <a:ext uri="{FF2B5EF4-FFF2-40B4-BE49-F238E27FC236}">
                <a16:creationId xmlns:a16="http://schemas.microsoft.com/office/drawing/2014/main" id="{72A74E25-D722-4FD3-933D-457B5C79AAE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0596"/>
          <a:stretch/>
        </p:blipFill>
        <p:spPr bwMode="auto">
          <a:xfrm>
            <a:off x="8111022" y="3870715"/>
            <a:ext cx="2471699" cy="2616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man in white dress shirt and red pants standing beside woman in white dress shirt">
            <a:extLst>
              <a:ext uri="{FF2B5EF4-FFF2-40B4-BE49-F238E27FC236}">
                <a16:creationId xmlns:a16="http://schemas.microsoft.com/office/drawing/2014/main" id="{0E915DD1-0632-4785-98B0-B59DCC6A79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62956" y="4230149"/>
            <a:ext cx="2867895" cy="1912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woman in blue button up shirt holding orange fruit">
            <a:extLst>
              <a:ext uri="{FF2B5EF4-FFF2-40B4-BE49-F238E27FC236}">
                <a16:creationId xmlns:a16="http://schemas.microsoft.com/office/drawing/2014/main" id="{6DCF2193-A375-4A05-8030-FFC60E56E7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3846" y="205369"/>
            <a:ext cx="2142896" cy="14293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people in white uniform standing near white and blue ice cooler">
            <a:extLst>
              <a:ext uri="{FF2B5EF4-FFF2-40B4-BE49-F238E27FC236}">
                <a16:creationId xmlns:a16="http://schemas.microsoft.com/office/drawing/2014/main" id="{E29D92EE-DA3B-4755-A7D2-C7D13CB515D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70491" y="4379733"/>
            <a:ext cx="2867895" cy="1614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boys green crew-neck shirt">
            <a:extLst>
              <a:ext uri="{FF2B5EF4-FFF2-40B4-BE49-F238E27FC236}">
                <a16:creationId xmlns:a16="http://schemas.microsoft.com/office/drawing/2014/main" id="{4919B120-ABF2-43A1-8716-B94004532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54794" y="183778"/>
            <a:ext cx="2172009" cy="1450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2" name="Picture 16">
            <a:extLst>
              <a:ext uri="{FF2B5EF4-FFF2-40B4-BE49-F238E27FC236}">
                <a16:creationId xmlns:a16="http://schemas.microsoft.com/office/drawing/2014/main" id="{01898DAA-D810-4656-B3BC-EAD23B5D91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83345" y="1687853"/>
            <a:ext cx="1403397" cy="21080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4" name="Picture 18">
            <a:extLst>
              <a:ext uri="{FF2B5EF4-FFF2-40B4-BE49-F238E27FC236}">
                <a16:creationId xmlns:a16="http://schemas.microsoft.com/office/drawing/2014/main" id="{48CDE5B0-4044-4B34-8265-226F8AD4ED2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5" t="7891" r="2637" b="9126"/>
          <a:stretch/>
        </p:blipFill>
        <p:spPr bwMode="auto">
          <a:xfrm>
            <a:off x="4962956" y="183779"/>
            <a:ext cx="2310492" cy="14509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506919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F2192-6A2F-41D8-B014-0CC664230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fr" b="1" i="0" u="none" baseline="0"/>
              <a:t>Définition du context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7CAF88-4CE5-460E-B49E-62C548C5323F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 lIns="91440" tIns="45720" rIns="91440" bIns="45720" anchor="t">
            <a:normAutofit/>
          </a:bodyPr>
          <a:lstStyle/>
          <a:p>
            <a:pPr marL="306705" indent="-306705"/>
            <a:r>
              <a:rPr lang="fr" sz="2400" b="0" i="0" u="none" baseline="0">
                <a:latin typeface="Poppins Light"/>
                <a:cs typeface="Poppins"/>
              </a:rPr>
              <a:t>Vous disposez d'une </a:t>
            </a:r>
            <a:r>
              <a:rPr lang="fr" sz="2400">
                <a:latin typeface="Poppins Light"/>
                <a:cs typeface="Poppins"/>
              </a:rPr>
              <a:t>mine de </a:t>
            </a:r>
            <a:r>
              <a:rPr lang="fr" sz="2400" b="0" i="0" u="none" baseline="0">
                <a:latin typeface="Poppins Light"/>
                <a:cs typeface="Poppins"/>
              </a:rPr>
              <a:t>sagesse collective sur :</a:t>
            </a:r>
          </a:p>
          <a:p>
            <a:pPr marL="989965" lvl="1" indent="-380365" algn="l" rtl="0"/>
            <a:r>
              <a:rPr lang="fr" sz="2400" b="0" i="0" u="none" baseline="0">
                <a:latin typeface="Poppins Light"/>
                <a:cs typeface="Poppins"/>
              </a:rPr>
              <a:t>Votre demande de vaccins, la santé publique, les interventions d'urgence et la promotion de la santé</a:t>
            </a:r>
          </a:p>
          <a:p>
            <a:pPr marL="989965" lvl="1" indent="-380365" algn="l" rtl="0"/>
            <a:r>
              <a:rPr lang="fr" sz="2400" b="0" i="0" u="none" baseline="0">
                <a:latin typeface="Poppins Light"/>
                <a:cs typeface="Poppins"/>
              </a:rPr>
              <a:t>Les types de défis auxquels les ressortissants de votre pays sont confrontés dans leur recherche de services de santé</a:t>
            </a:r>
          </a:p>
          <a:p>
            <a:pPr marL="989965" lvl="1" indent="-380365" algn="l" rtl="0"/>
            <a:r>
              <a:rPr lang="fr" sz="2400" b="0" i="0" u="none" baseline="0">
                <a:latin typeface="Poppins Light"/>
                <a:cs typeface="Poppins"/>
              </a:rPr>
              <a:t>Les types de solutions qui peuvent contribuer à promouvoir la demande de vaccins</a:t>
            </a:r>
          </a:p>
          <a:p>
            <a:pPr marL="989965" lvl="1" indent="-380365" algn="l" rtl="0"/>
            <a:endParaRPr lang="fr" sz="2400">
              <a:latin typeface="Poppins Light"/>
              <a:cs typeface="Poppins" panose="00000500000000000000" pitchFamily="2" charset="0"/>
            </a:endParaRPr>
          </a:p>
          <a:p>
            <a:pPr marL="0" indent="0" algn="l" rtl="0">
              <a:buNone/>
            </a:pPr>
            <a:r>
              <a:rPr lang="fr" sz="2400" b="0" i="0" u="none" baseline="0">
                <a:latin typeface="Poppins Light"/>
                <a:cs typeface="Poppins"/>
              </a:rPr>
              <a:t>… et vous avez probablement beaucoup appris en 2021 sur le déploiement des vaccins contre la COVID-19. </a:t>
            </a:r>
          </a:p>
          <a:p>
            <a:pPr marL="0" indent="0" algn="l" rtl="0">
              <a:buNone/>
            </a:pPr>
            <a:endParaRPr lang="fr" sz="2400">
              <a:latin typeface="Poppins Light"/>
              <a:cs typeface="Poppins" panose="00000500000000000000" pitchFamily="2" charset="0"/>
            </a:endParaRPr>
          </a:p>
          <a:p>
            <a:pPr marL="0" indent="0" algn="l" rtl="0">
              <a:buNone/>
            </a:pPr>
            <a:r>
              <a:rPr lang="fr" sz="2400" b="0" i="0" u="none" baseline="0">
                <a:latin typeface="Poppins Light"/>
                <a:cs typeface="Poppins"/>
              </a:rPr>
              <a:t>Testez vos connaissances avec cet exercice !</a:t>
            </a:r>
          </a:p>
          <a:p>
            <a:pPr marL="0" indent="-73660" algn="l" rtl="0">
              <a:buNone/>
            </a:pPr>
            <a:endParaRPr lang="fr" sz="2400">
              <a:latin typeface="Poppins Light"/>
              <a:cs typeface="Poppins" panose="00000500000000000000" pitchFamily="2" charset="0"/>
            </a:endParaRPr>
          </a:p>
          <a:p>
            <a:pPr marL="989965" lvl="1" indent="-380365" algn="l" rtl="0"/>
            <a:endParaRPr lang="fr"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01056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F2192-6A2F-41D8-B014-0CC664230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999" y="365126"/>
            <a:ext cx="11423091" cy="777875"/>
          </a:xfrm>
        </p:spPr>
        <p:txBody>
          <a:bodyPr>
            <a:noAutofit/>
          </a:bodyPr>
          <a:lstStyle/>
          <a:p>
            <a:pPr algn="l" rtl="0"/>
            <a:r>
              <a:rPr lang="fr" sz="3600" b="1" i="0" u="none" baseline="0">
                <a:latin typeface="Poppins" panose="00000500000000000000" pitchFamily="2" charset="0"/>
                <a:cs typeface="Poppins" panose="00000500000000000000" pitchFamily="2" charset="0"/>
              </a:rPr>
              <a:t>Exercice sur le parcours vers la vaccination : Faites la connaissance de Fiki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7CAF88-4CE5-460E-B49E-62C548C532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07081" y="1550911"/>
            <a:ext cx="6554371" cy="4780490"/>
          </a:xfrm>
        </p:spPr>
        <p:txBody>
          <a:bodyPr lIns="91440" tIns="45720" rIns="91440" bIns="45720" anchor="t">
            <a:noAutofit/>
          </a:bodyPr>
          <a:lstStyle/>
          <a:p>
            <a:pPr marL="306705" indent="-306705">
              <a:lnSpc>
                <a:spcPct val="120000"/>
              </a:lnSpc>
            </a:pPr>
            <a:r>
              <a:rPr lang="fr" sz="1800" b="0" i="0" u="none" baseline="0" err="1">
                <a:latin typeface="Poppins Light"/>
                <a:ea typeface="Calibri Light"/>
                <a:cs typeface="Poppins"/>
              </a:rPr>
              <a:t>Fikile</a:t>
            </a:r>
            <a:r>
              <a:rPr lang="fr" sz="1800" b="0" i="0" u="none" baseline="0">
                <a:latin typeface="Poppins Light"/>
                <a:ea typeface="Calibri Light"/>
                <a:cs typeface="Poppins"/>
              </a:rPr>
              <a:t> a 24 ans et vit et travaille dans une grande métropole du pays X.</a:t>
            </a:r>
            <a:r>
              <a:rPr lang="fr" sz="1800">
                <a:latin typeface="Poppins Light"/>
                <a:ea typeface="Calibri Light"/>
                <a:cs typeface="Poppins"/>
              </a:rPr>
              <a:t> </a:t>
            </a:r>
            <a:endParaRPr lang="fr-FR" sz="1800">
              <a:latin typeface="Poppins Light"/>
              <a:ea typeface="Calibri Light"/>
            </a:endParaRPr>
          </a:p>
          <a:p>
            <a:pPr marL="306705" indent="-306705"/>
            <a:r>
              <a:rPr lang="fr" sz="1800" b="0" i="0" u="none" baseline="0" err="1">
                <a:latin typeface="Poppins Light"/>
                <a:ea typeface="Calibri Light"/>
                <a:cs typeface="Poppins"/>
              </a:rPr>
              <a:t>Fikile</a:t>
            </a:r>
            <a:r>
              <a:rPr lang="fr" sz="1800" b="0" i="0" u="none" baseline="0">
                <a:latin typeface="Poppins Light"/>
                <a:ea typeface="Calibri Light"/>
                <a:cs typeface="Poppins"/>
              </a:rPr>
              <a:t> adore échanger avec ses amis sur WhatsApp lorsqu'elle ne travaille pas dans un magasin de vente au détail.</a:t>
            </a:r>
            <a:r>
              <a:rPr lang="fr" sz="1800">
                <a:latin typeface="Poppins Light"/>
                <a:ea typeface="Calibri Light"/>
                <a:cs typeface="Poppins"/>
              </a:rPr>
              <a:t> </a:t>
            </a:r>
            <a:endParaRPr lang="fr" sz="1800" b="0" i="0" u="none" baseline="0">
              <a:latin typeface="Poppins Light"/>
              <a:ea typeface="Calibri Light"/>
              <a:cs typeface="Poppins" panose="00000500000000000000" pitchFamily="2" charset="0"/>
            </a:endParaRPr>
          </a:p>
          <a:p>
            <a:pPr marL="306705" indent="-306705" algn="l" rtl="0"/>
            <a:r>
              <a:rPr lang="fr" sz="1800" b="0" i="0" u="none" baseline="0">
                <a:latin typeface="Poppins Light"/>
                <a:ea typeface="Calibri Light"/>
                <a:cs typeface="Poppins"/>
              </a:rPr>
              <a:t>Elle rêve d'économiser assez d'argent pour aller à l'université et obtenir un diplôme en commerce.</a:t>
            </a:r>
          </a:p>
          <a:p>
            <a:pPr marL="306705" indent="-306705"/>
            <a:r>
              <a:rPr lang="fr" sz="1800" b="0" i="0" u="none" baseline="0">
                <a:latin typeface="Poppins Light"/>
                <a:ea typeface="Calibri Light"/>
                <a:cs typeface="Poppins"/>
              </a:rPr>
              <a:t>La famille de </a:t>
            </a:r>
            <a:r>
              <a:rPr lang="fr" sz="1800" b="0" i="0" u="none" baseline="0" err="1">
                <a:latin typeface="Poppins Light"/>
                <a:ea typeface="Calibri Light"/>
                <a:cs typeface="Poppins"/>
              </a:rPr>
              <a:t>Fikile</a:t>
            </a:r>
            <a:r>
              <a:rPr lang="fr" sz="1800" b="0" i="0" u="none" baseline="0">
                <a:latin typeface="Poppins Light"/>
                <a:ea typeface="Calibri Light"/>
                <a:cs typeface="Poppins"/>
              </a:rPr>
              <a:t> a été touchée par la COVID-19, notamment par les effets économiques d'une perte d'emploi et des effets sur la santé de l'infection à la COVID-19 qui a entraîné l'hospitalisation d'un grand-parent.</a:t>
            </a:r>
            <a:r>
              <a:rPr lang="fr" sz="1800">
                <a:latin typeface="Poppins Light"/>
                <a:ea typeface="Calibri Light"/>
                <a:cs typeface="Poppins"/>
              </a:rPr>
              <a:t> </a:t>
            </a:r>
            <a:endParaRPr lang="fr" sz="1800" b="0" i="0" u="none" baseline="0">
              <a:latin typeface="Poppins Light"/>
              <a:ea typeface="Calibri Light"/>
              <a:cs typeface="Poppins" panose="00000500000000000000" pitchFamily="2" charset="0"/>
            </a:endParaRPr>
          </a:p>
          <a:p>
            <a:pPr marL="306705" indent="-306705"/>
            <a:r>
              <a:rPr lang="fr" sz="1800" b="0" i="0" u="none" baseline="0">
                <a:latin typeface="Poppins Light"/>
                <a:ea typeface="Calibri Light"/>
                <a:cs typeface="Poppins"/>
              </a:rPr>
              <a:t>Les jeunes frères et sœurs de </a:t>
            </a:r>
            <a:r>
              <a:rPr lang="fr" sz="1800" b="0" i="0" u="none" baseline="0" err="1">
                <a:latin typeface="Poppins Light"/>
                <a:ea typeface="Calibri Light"/>
                <a:cs typeface="Poppins"/>
              </a:rPr>
              <a:t>Fikile</a:t>
            </a:r>
            <a:r>
              <a:rPr lang="fr" sz="1800" b="0" i="0" u="none" baseline="0">
                <a:latin typeface="Poppins Light"/>
                <a:ea typeface="Calibri Light"/>
                <a:cs typeface="Poppins"/>
              </a:rPr>
              <a:t> ont interrompu leurs études.</a:t>
            </a:r>
            <a:r>
              <a:rPr lang="fr" sz="1800">
                <a:latin typeface="Poppins Light"/>
                <a:ea typeface="Calibri Light"/>
                <a:cs typeface="Poppins"/>
              </a:rPr>
              <a:t> </a:t>
            </a:r>
            <a:endParaRPr lang="fr" sz="1800" b="0" i="0" u="none" baseline="0">
              <a:latin typeface="Poppins Light"/>
              <a:ea typeface="Calibri Light"/>
              <a:cs typeface="Poppins" panose="00000500000000000000" pitchFamily="2" charset="0"/>
            </a:endParaRPr>
          </a:p>
          <a:p>
            <a:pPr marL="306705" indent="-306705" algn="l" rtl="0"/>
            <a:r>
              <a:rPr lang="fr" sz="1800" b="0" i="0" u="none" baseline="0">
                <a:latin typeface="Poppins Light"/>
                <a:ea typeface="Calibri Light"/>
                <a:cs typeface="Poppins"/>
              </a:rPr>
              <a:t>Fortement religieuse, sa communauté a repris les grands rassemblements de culte en personne du dimanche.</a:t>
            </a:r>
            <a:endParaRPr lang="fr" sz="1800">
              <a:latin typeface="Poppins Light"/>
              <a:ea typeface="Calibri Light"/>
              <a:cs typeface="Poppin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3C396F-386E-4B00-B85D-A95402181DE4}"/>
              </a:ext>
            </a:extLst>
          </p:cNvPr>
          <p:cNvSpPr/>
          <p:nvPr/>
        </p:nvSpPr>
        <p:spPr>
          <a:xfrm>
            <a:off x="1164167" y="4779337"/>
            <a:ext cx="3240741" cy="1075765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" sz="18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Myriad Web Pro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1F812C4-BA91-483E-85FE-C5BD8A82B21F}"/>
              </a:ext>
            </a:extLst>
          </p:cNvPr>
          <p:cNvGrpSpPr/>
          <p:nvPr/>
        </p:nvGrpSpPr>
        <p:grpSpPr>
          <a:xfrm>
            <a:off x="2518555" y="4450438"/>
            <a:ext cx="1805992" cy="1170908"/>
            <a:chOff x="2612684" y="4396650"/>
            <a:chExt cx="1805992" cy="117090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7685458-8A6E-4665-BF3C-86F3590B7CBB}"/>
                </a:ext>
              </a:extLst>
            </p:cNvPr>
            <p:cNvGrpSpPr/>
            <p:nvPr/>
          </p:nvGrpSpPr>
          <p:grpSpPr>
            <a:xfrm>
              <a:off x="2612684" y="4396650"/>
              <a:ext cx="1170908" cy="1170908"/>
              <a:chOff x="2379411" y="4208886"/>
              <a:chExt cx="1170908" cy="1170908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EB456618-F81A-4E05-8E1B-834522259655}"/>
                  </a:ext>
                </a:extLst>
              </p:cNvPr>
              <p:cNvSpPr/>
              <p:nvPr/>
            </p:nvSpPr>
            <p:spPr>
              <a:xfrm>
                <a:off x="2599291" y="4543328"/>
                <a:ext cx="731148" cy="502024"/>
              </a:xfrm>
              <a:prstGeom prst="roundRect">
                <a:avLst/>
              </a:prstGeom>
              <a:solidFill>
                <a:schemeClr val="bg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" sz="1800" b="0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Myriad Web Pro"/>
                  <a:ea typeface="+mn-ea"/>
                  <a:cs typeface="+mn-cs"/>
                </a:endParaRPr>
              </a:p>
            </p:txBody>
          </p:sp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55AADDA9-E028-4582-9FF0-A2AB9623D5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79411" y="4208886"/>
                <a:ext cx="1170908" cy="1170908"/>
              </a:xfrm>
              <a:prstGeom prst="rect">
                <a:avLst/>
              </a:prstGeom>
            </p:spPr>
          </p:pic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7ADE712-2473-479E-AD7E-A78862BB8522}"/>
                </a:ext>
              </a:extLst>
            </p:cNvPr>
            <p:cNvSpPr txBox="1"/>
            <p:nvPr/>
          </p:nvSpPr>
          <p:spPr>
            <a:xfrm>
              <a:off x="2822917" y="4857051"/>
              <a:ext cx="159575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" sz="12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iome" panose="020B0503030204020804" pitchFamily="34" charset="0"/>
                  <a:ea typeface="+mn-ea"/>
                  <a:cs typeface="Biome" panose="020B0503030204020804" pitchFamily="34" charset="0"/>
                </a:rPr>
                <a:t>Fikile</a:t>
              </a: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CA589781-1141-4767-9EF5-270593950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09" r="11436" b="7008"/>
          <a:stretch>
            <a:fillRect/>
          </a:stretch>
        </p:blipFill>
        <p:spPr bwMode="auto">
          <a:xfrm>
            <a:off x="673891" y="1466907"/>
            <a:ext cx="4129088" cy="330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175753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F2192-6A2F-41D8-B014-0CC664230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000" y="359107"/>
            <a:ext cx="11684000" cy="777875"/>
          </a:xfrm>
        </p:spPr>
        <p:txBody>
          <a:bodyPr>
            <a:noAutofit/>
          </a:bodyPr>
          <a:lstStyle/>
          <a:p>
            <a:pPr algn="l" rtl="0"/>
            <a:r>
              <a:rPr lang="fr" sz="3600" b="1" i="0" u="none" baseline="0">
                <a:latin typeface="Poppins" panose="00000500000000000000" pitchFamily="2" charset="0"/>
                <a:cs typeface="Poppins" panose="00000500000000000000" pitchFamily="2" charset="0"/>
              </a:rPr>
              <a:t>Exercice sur le parcours vers la vaccination : Faites la connaissance de Fiki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7CAF88-4CE5-460E-B49E-62C548C532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009258" y="1562079"/>
            <a:ext cx="6745404" cy="5094707"/>
          </a:xfrm>
        </p:spPr>
        <p:txBody>
          <a:bodyPr lIns="91440" tIns="45720" rIns="91440" bIns="45720" anchor="t">
            <a:normAutofit fontScale="85000" lnSpcReduction="20000"/>
          </a:bodyPr>
          <a:lstStyle/>
          <a:p>
            <a:pPr marL="306705" indent="-306705">
              <a:lnSpc>
                <a:spcPct val="125000"/>
              </a:lnSpc>
              <a:spcBef>
                <a:spcPts val="600"/>
              </a:spcBef>
            </a:pPr>
            <a:r>
              <a:rPr lang="fr" sz="2200" b="0" i="0" u="none" baseline="0" dirty="0">
                <a:latin typeface="Poppins Light"/>
                <a:cs typeface="Poppins"/>
              </a:rPr>
              <a:t>Bien que </a:t>
            </a:r>
            <a:r>
              <a:rPr lang="fr" sz="2200" b="0" i="0" u="none" baseline="0" dirty="0" err="1">
                <a:latin typeface="Poppins Light"/>
                <a:cs typeface="Poppins"/>
              </a:rPr>
              <a:t>Fikile</a:t>
            </a:r>
            <a:r>
              <a:rPr lang="fr" sz="2200" b="0" i="0" u="none" baseline="0" dirty="0">
                <a:latin typeface="Poppins Light"/>
                <a:cs typeface="Poppins"/>
              </a:rPr>
              <a:t> ait suivi les premières directives du ministère de la Santé concernant la COVID-19 et qu'elle respecte régulièrement la directive du port du masque dans les transports en commun, elle en a assez d'éviter les foules et de ne pas sortir pour voir ses amis en personne.</a:t>
            </a:r>
            <a:r>
              <a:rPr lang="fr" sz="2200" dirty="0">
                <a:latin typeface="Poppins Light"/>
                <a:cs typeface="Poppins"/>
              </a:rPr>
              <a:t> </a:t>
            </a:r>
            <a:endParaRPr lang="fr" sz="2200" b="0" i="0" u="none" baseline="0" dirty="0">
              <a:latin typeface="Poppins Light"/>
              <a:cs typeface="Poppins" panose="00000500000000000000" pitchFamily="2" charset="0"/>
            </a:endParaRPr>
          </a:p>
          <a:p>
            <a:pPr marL="306705" indent="-306705" algn="l" rtl="0">
              <a:lnSpc>
                <a:spcPct val="125000"/>
              </a:lnSpc>
              <a:spcBef>
                <a:spcPts val="600"/>
              </a:spcBef>
            </a:pPr>
            <a:r>
              <a:rPr lang="fr" sz="2200" b="0" i="0" u="none" baseline="0" dirty="0">
                <a:latin typeface="Poppins Light"/>
                <a:cs typeface="Poppins"/>
              </a:rPr>
              <a:t>Elle n'a pas porté de masque depuis des semaines, car aucun membre de sa famille ou de son cercle d'amis ne le fait.</a:t>
            </a:r>
          </a:p>
          <a:p>
            <a:pPr marL="306705" indent="-306705">
              <a:lnSpc>
                <a:spcPct val="125000"/>
              </a:lnSpc>
              <a:spcBef>
                <a:spcPts val="600"/>
              </a:spcBef>
            </a:pPr>
            <a:r>
              <a:rPr lang="fr" sz="2200" b="0" i="0" u="none" baseline="0" dirty="0" err="1">
                <a:latin typeface="Poppins Light"/>
                <a:cs typeface="Poppins"/>
              </a:rPr>
              <a:t>Fikile</a:t>
            </a:r>
            <a:r>
              <a:rPr lang="fr" sz="2200" b="0" i="0" u="none" baseline="0" dirty="0">
                <a:latin typeface="Poppins Light"/>
                <a:cs typeface="Poppins"/>
              </a:rPr>
              <a:t> est éligible pour un vaccin contre la COVID-19 depuis décembre 2021, mais n'a pas encore été vaccinée.</a:t>
            </a:r>
            <a:r>
              <a:rPr lang="fr" sz="2200" dirty="0">
                <a:latin typeface="Poppins Light"/>
                <a:cs typeface="Poppins"/>
              </a:rPr>
              <a:t> </a:t>
            </a:r>
            <a:endParaRPr lang="fr" sz="2200" b="0" i="0" u="none" baseline="0" dirty="0">
              <a:latin typeface="Poppins Light"/>
              <a:cs typeface="Poppins" panose="00000500000000000000" pitchFamily="2" charset="0"/>
            </a:endParaRPr>
          </a:p>
          <a:p>
            <a:pPr marL="306705" indent="-306705" algn="l" rtl="0">
              <a:lnSpc>
                <a:spcPct val="125000"/>
              </a:lnSpc>
              <a:spcBef>
                <a:spcPts val="600"/>
              </a:spcBef>
            </a:pPr>
            <a:r>
              <a:rPr lang="fr" sz="2200" b="0" i="0" u="none" baseline="0" dirty="0">
                <a:latin typeface="Poppins Light"/>
                <a:cs typeface="Poppins"/>
              </a:rPr>
              <a:t>Sa mère, une infirmière à la retraite, s'est fait vacciner, mais n'a convaincu ni son père ni aucun autre membre de la famille de le faire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83C396F-386E-4B00-B85D-A95402181DE4}"/>
              </a:ext>
            </a:extLst>
          </p:cNvPr>
          <p:cNvSpPr/>
          <p:nvPr/>
        </p:nvSpPr>
        <p:spPr>
          <a:xfrm>
            <a:off x="1164167" y="4779337"/>
            <a:ext cx="3240741" cy="1075765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" sz="1800" b="0" i="0" u="none" strike="noStrike" kern="1200" cap="none" spc="0" normalizeH="0" baseline="0" noProof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Myriad Web Pro"/>
              <a:ea typeface="+mn-ea"/>
              <a:cs typeface="+mn-cs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21F812C4-BA91-483E-85FE-C5BD8A82B21F}"/>
              </a:ext>
            </a:extLst>
          </p:cNvPr>
          <p:cNvGrpSpPr/>
          <p:nvPr/>
        </p:nvGrpSpPr>
        <p:grpSpPr>
          <a:xfrm>
            <a:off x="2518555" y="4450438"/>
            <a:ext cx="1805992" cy="1170908"/>
            <a:chOff x="2612684" y="4396650"/>
            <a:chExt cx="1805992" cy="1170908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7685458-8A6E-4665-BF3C-86F3590B7CBB}"/>
                </a:ext>
              </a:extLst>
            </p:cNvPr>
            <p:cNvGrpSpPr/>
            <p:nvPr/>
          </p:nvGrpSpPr>
          <p:grpSpPr>
            <a:xfrm>
              <a:off x="2612684" y="4396650"/>
              <a:ext cx="1170908" cy="1170908"/>
              <a:chOff x="2379411" y="4208886"/>
              <a:chExt cx="1170908" cy="1170908"/>
            </a:xfrm>
          </p:grpSpPr>
          <p:sp>
            <p:nvSpPr>
              <p:cNvPr id="10" name="Rectangle: Rounded Corners 9">
                <a:extLst>
                  <a:ext uri="{FF2B5EF4-FFF2-40B4-BE49-F238E27FC236}">
                    <a16:creationId xmlns:a16="http://schemas.microsoft.com/office/drawing/2014/main" id="{EB456618-F81A-4E05-8E1B-834522259655}"/>
                  </a:ext>
                </a:extLst>
              </p:cNvPr>
              <p:cNvSpPr/>
              <p:nvPr/>
            </p:nvSpPr>
            <p:spPr>
              <a:xfrm>
                <a:off x="2599291" y="4543328"/>
                <a:ext cx="731148" cy="502024"/>
              </a:xfrm>
              <a:prstGeom prst="roundRect">
                <a:avLst/>
              </a:prstGeom>
              <a:solidFill>
                <a:schemeClr val="bg1">
                  <a:lumMod val="20000"/>
                  <a:lumOff val="8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fr" sz="1800" b="0" i="0" u="none" strike="noStrike" kern="1200" cap="none" spc="0" normalizeH="0" baseline="0" noProof="0">
                  <a:ln>
                    <a:noFill/>
                  </a:ln>
                  <a:solidFill>
                    <a:srgbClr val="FFC000"/>
                  </a:solidFill>
                  <a:effectLst/>
                  <a:uLnTx/>
                  <a:uFillTx/>
                  <a:latin typeface="Myriad Web Pro"/>
                  <a:ea typeface="+mn-ea"/>
                  <a:cs typeface="+mn-cs"/>
                </a:endParaRPr>
              </a:p>
            </p:txBody>
          </p:sp>
          <p:pic>
            <p:nvPicPr>
              <p:cNvPr id="9" name="Picture 8">
                <a:extLst>
                  <a:ext uri="{FF2B5EF4-FFF2-40B4-BE49-F238E27FC236}">
                    <a16:creationId xmlns:a16="http://schemas.microsoft.com/office/drawing/2014/main" id="{55AADDA9-E028-4582-9FF0-A2AB9623D5B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379411" y="4208886"/>
                <a:ext cx="1170908" cy="1170908"/>
              </a:xfrm>
              <a:prstGeom prst="rect">
                <a:avLst/>
              </a:prstGeom>
            </p:spPr>
          </p:pic>
        </p:grp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7ADE712-2473-479E-AD7E-A78862BB8522}"/>
                </a:ext>
              </a:extLst>
            </p:cNvPr>
            <p:cNvSpPr txBox="1"/>
            <p:nvPr/>
          </p:nvSpPr>
          <p:spPr>
            <a:xfrm>
              <a:off x="2822917" y="4857051"/>
              <a:ext cx="159575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fr" sz="1200" b="0" i="0" u="none" strike="noStrike" kern="1200" cap="none" spc="0" normalizeH="0" baseline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Biome" panose="020B0503030204020804" pitchFamily="34" charset="0"/>
                  <a:ea typeface="+mn-ea"/>
                  <a:cs typeface="Biome" panose="020B0503030204020804" pitchFamily="34" charset="0"/>
                </a:rPr>
                <a:t>Fikile</a:t>
              </a:r>
            </a:p>
          </p:txBody>
        </p:sp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CA589781-1141-4767-9EF5-270593950FF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09" r="11436" b="7008"/>
          <a:stretch>
            <a:fillRect/>
          </a:stretch>
        </p:blipFill>
        <p:spPr bwMode="auto">
          <a:xfrm>
            <a:off x="673891" y="1466907"/>
            <a:ext cx="4129088" cy="3309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566475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8F2192-6A2F-41D8-B014-0CC664230F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25739" y="416331"/>
            <a:ext cx="10515600" cy="777875"/>
          </a:xfrm>
        </p:spPr>
        <p:txBody>
          <a:bodyPr>
            <a:noAutofit/>
          </a:bodyPr>
          <a:lstStyle/>
          <a:p>
            <a:pPr algn="l" rtl="0"/>
            <a:r>
              <a:rPr lang="fr" sz="4000" b="1" i="0" u="none" baseline="0"/>
              <a:t>Cartographiez le parcours de Fiki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67CAF88-4CE5-460E-B49E-62C548C5323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83016" y="1387449"/>
            <a:ext cx="11119224" cy="4780490"/>
          </a:xfrm>
        </p:spPr>
        <p:txBody>
          <a:bodyPr lIns="91440" tIns="45720" rIns="91440" bIns="45720" anchor="t"/>
          <a:lstStyle/>
          <a:p>
            <a:pPr marL="0" indent="0" algn="l" rtl="0">
              <a:spcBef>
                <a:spcPts val="600"/>
              </a:spcBef>
              <a:spcAft>
                <a:spcPts val="600"/>
              </a:spcAft>
              <a:buNone/>
            </a:pPr>
            <a:r>
              <a:rPr lang="fr" sz="2000" b="0" i="0" u="none" baseline="0">
                <a:latin typeface="Poppins Light"/>
                <a:cs typeface="Poppins"/>
              </a:rPr>
              <a:t>Avec l'aide de votre facilitateur et par équipe de 15 participants dans une salle de discussion Zoom, vous effectuerez les tâches suivantes : (30 minutes)</a:t>
            </a:r>
            <a:endParaRPr lang="fr-FR"/>
          </a:p>
          <a:p>
            <a:pPr marL="1123315" lvl="1" indent="-51435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" sz="2000" b="0" i="0" u="none" baseline="0">
                <a:latin typeface="Poppins Light"/>
                <a:cs typeface="Poppins"/>
              </a:rPr>
              <a:t>Discutez de </a:t>
            </a:r>
            <a:r>
              <a:rPr lang="fr" sz="2000">
                <a:latin typeface="Poppins Light"/>
                <a:cs typeface="Poppins"/>
              </a:rPr>
              <a:t>ce à quoi la vie de </a:t>
            </a:r>
            <a:r>
              <a:rPr lang="fr" sz="2000" b="0" i="0" u="none" baseline="0" err="1">
                <a:latin typeface="Poppins Light"/>
                <a:cs typeface="Poppins"/>
              </a:rPr>
              <a:t>Fikile</a:t>
            </a:r>
            <a:r>
              <a:rPr lang="fr" sz="2000" b="0" i="0" u="none" baseline="0">
                <a:latin typeface="Poppins Light"/>
                <a:cs typeface="Poppins"/>
              </a:rPr>
              <a:t> </a:t>
            </a:r>
            <a:r>
              <a:rPr lang="fr" sz="2000">
                <a:latin typeface="Poppins Light"/>
                <a:cs typeface="Poppins"/>
              </a:rPr>
              <a:t>doit ressembler</a:t>
            </a:r>
            <a:r>
              <a:rPr lang="fr" sz="2000" b="0" i="0" u="none" baseline="0">
                <a:latin typeface="Poppins Light"/>
                <a:cs typeface="Poppins"/>
              </a:rPr>
              <a:t> et des raisons pour lesquelles elle n'a peut-être pas encore été vaccinée. Votre pays pourrait se composer d'une population de jeunes similaires à </a:t>
            </a:r>
            <a:r>
              <a:rPr lang="fr" sz="2000" b="0" i="0" u="none" baseline="0" err="1">
                <a:latin typeface="Poppins Light"/>
                <a:cs typeface="Poppins"/>
              </a:rPr>
              <a:t>Fikile</a:t>
            </a:r>
            <a:r>
              <a:rPr lang="fr" sz="2000" b="0" i="0" u="none" baseline="0">
                <a:latin typeface="Poppins Light"/>
                <a:cs typeface="Poppins"/>
              </a:rPr>
              <a:t>.</a:t>
            </a:r>
            <a:r>
              <a:rPr lang="fr" sz="2000">
                <a:latin typeface="Poppins Light"/>
                <a:cs typeface="Poppins"/>
              </a:rPr>
              <a:t> </a:t>
            </a:r>
            <a:r>
              <a:rPr lang="fr" sz="2000" b="0" i="0" u="none" baseline="0">
                <a:latin typeface="Poppins Light"/>
                <a:cs typeface="Poppins"/>
              </a:rPr>
              <a:t> Pourquoi ne se sont-ils pas encore fait vacciner ? (10 minutes)</a:t>
            </a:r>
          </a:p>
          <a:p>
            <a:pPr marL="1656715" lvl="2" indent="-514350" algn="l" rtl="0">
              <a:spcBef>
                <a:spcPts val="600"/>
              </a:spcBef>
              <a:spcAft>
                <a:spcPts val="600"/>
              </a:spcAft>
              <a:buClrTx/>
              <a:buFont typeface="Calibri" panose="020F0502020204030204" pitchFamily="34" charset="0"/>
              <a:buChar char="―"/>
            </a:pPr>
            <a:r>
              <a:rPr lang="fr" sz="2000" b="0" i="0" u="none" baseline="0">
                <a:latin typeface="Poppins Light"/>
                <a:cs typeface="Poppins"/>
              </a:rPr>
              <a:t>Tenez compte des défis liés à l'accès, à l'équité et à la confiance envers les vaccins</a:t>
            </a:r>
          </a:p>
          <a:p>
            <a:pPr marL="1123315" lvl="1" indent="-51435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" sz="2000" b="0" i="0" u="none" baseline="0">
                <a:solidFill>
                  <a:srgbClr val="050505"/>
                </a:solidFill>
                <a:latin typeface="Poppins Light"/>
                <a:cs typeface="Poppins"/>
              </a:rPr>
              <a:t>Avec des autocollants</a:t>
            </a:r>
            <a:r>
              <a:rPr lang="fr" sz="2000" b="1" i="0" u="none" baseline="0">
                <a:solidFill>
                  <a:srgbClr val="C00000"/>
                </a:solidFill>
                <a:latin typeface="Poppins Light"/>
                <a:cs typeface="Poppins"/>
              </a:rPr>
              <a:t> ROUGES</a:t>
            </a:r>
            <a:r>
              <a:rPr lang="fr" sz="2000" b="0" i="0" u="none" baseline="0">
                <a:latin typeface="Poppins Light"/>
                <a:cs typeface="Poppins"/>
              </a:rPr>
              <a:t> </a:t>
            </a:r>
            <a:r>
              <a:rPr lang="fr" sz="2000" b="0" i="0" u="none" baseline="0">
                <a:solidFill>
                  <a:srgbClr val="C00000"/>
                </a:solidFill>
                <a:latin typeface="Poppins Light"/>
                <a:cs typeface="Poppins"/>
              </a:rPr>
              <a:t>,</a:t>
            </a:r>
            <a:r>
              <a:rPr lang="fr" sz="2000">
                <a:solidFill>
                  <a:srgbClr val="C00000"/>
                </a:solidFill>
                <a:latin typeface="Poppins Light"/>
                <a:cs typeface="Poppins"/>
              </a:rPr>
              <a:t> </a:t>
            </a:r>
            <a:r>
              <a:rPr lang="fr" sz="2000" b="0" i="0" u="none" baseline="0">
                <a:latin typeface="Poppins Light"/>
                <a:cs typeface="Poppins"/>
              </a:rPr>
              <a:t> travaillez avec le facilitateur pour cartographier les obstacles que </a:t>
            </a:r>
            <a:r>
              <a:rPr lang="fr" sz="2000" b="0" i="0" u="none" baseline="0" err="1">
                <a:latin typeface="Poppins Light"/>
                <a:cs typeface="Poppins"/>
              </a:rPr>
              <a:t>Fikile</a:t>
            </a:r>
            <a:r>
              <a:rPr lang="fr" sz="2000" b="0" i="0" u="none" baseline="0">
                <a:latin typeface="Poppins Light"/>
                <a:cs typeface="Poppins"/>
              </a:rPr>
              <a:t> peut rencontrer tout au long du parcours. (10 minutes)</a:t>
            </a:r>
          </a:p>
          <a:p>
            <a:pPr marL="1123315" lvl="1" indent="-51435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fr" sz="2000" b="0" i="0" u="none" baseline="0">
                <a:latin typeface="Poppins Light"/>
                <a:cs typeface="Poppins"/>
              </a:rPr>
              <a:t>Avec des autocollants</a:t>
            </a:r>
            <a:r>
              <a:rPr lang="fr" sz="2000">
                <a:latin typeface="Poppins Light"/>
                <a:cs typeface="Poppins"/>
              </a:rPr>
              <a:t> </a:t>
            </a:r>
            <a:r>
              <a:rPr lang="fr" sz="2000" b="1" i="0" u="none" baseline="0">
                <a:solidFill>
                  <a:srgbClr val="008037"/>
                </a:solidFill>
                <a:latin typeface="Poppins Light"/>
                <a:cs typeface="Poppins"/>
              </a:rPr>
              <a:t> VERT</a:t>
            </a:r>
            <a:r>
              <a:rPr lang="fr" sz="2000" b="0" i="0" u="none" baseline="0">
                <a:solidFill>
                  <a:srgbClr val="008037"/>
                </a:solidFill>
                <a:latin typeface="Poppins Light"/>
                <a:cs typeface="Poppins"/>
              </a:rPr>
              <a:t>,</a:t>
            </a:r>
            <a:r>
              <a:rPr lang="fr" sz="2000">
                <a:solidFill>
                  <a:srgbClr val="008037"/>
                </a:solidFill>
                <a:latin typeface="Poppins Light"/>
                <a:cs typeface="Poppins"/>
              </a:rPr>
              <a:t> </a:t>
            </a:r>
            <a:r>
              <a:rPr lang="fr" sz="2000" b="0" i="0" u="none" baseline="0">
                <a:latin typeface="Poppins Light"/>
                <a:cs typeface="Poppins"/>
              </a:rPr>
              <a:t> travaillez avec le facilitateur pour cartographier les facteurs ou les aspects qui pourraient faciliter le parcours </a:t>
            </a:r>
            <a:r>
              <a:rPr lang="fr" sz="2000">
                <a:latin typeface="Poppins Light"/>
                <a:cs typeface="Poppins"/>
              </a:rPr>
              <a:t>de </a:t>
            </a:r>
            <a:r>
              <a:rPr lang="fr" sz="2000" err="1">
                <a:latin typeface="Poppins Light"/>
                <a:cs typeface="Poppins"/>
              </a:rPr>
              <a:t>Fikile</a:t>
            </a:r>
            <a:r>
              <a:rPr lang="fr" sz="2000" b="0" i="0" u="none" baseline="0">
                <a:latin typeface="Poppins Light"/>
                <a:cs typeface="Poppins"/>
              </a:rPr>
              <a:t> vers la vaccination. (10 minutes)</a:t>
            </a:r>
          </a:p>
          <a:p>
            <a:pPr marL="306705" indent="-306705" algn="l" rtl="0">
              <a:spcBef>
                <a:spcPts val="600"/>
              </a:spcBef>
              <a:spcAft>
                <a:spcPts val="600"/>
              </a:spcAft>
            </a:pPr>
            <a:endParaRPr lang="fr" sz="2000">
              <a:latin typeface="Poppins Light"/>
              <a:cs typeface="Poppins" panose="00000500000000000000" pitchFamily="2" charset="0"/>
            </a:endParaRPr>
          </a:p>
        </p:txBody>
      </p:sp>
      <p:pic>
        <p:nvPicPr>
          <p:cNvPr id="5" name="Graphic 4" descr="Map with pin with solid fill">
            <a:extLst>
              <a:ext uri="{FF2B5EF4-FFF2-40B4-BE49-F238E27FC236}">
                <a16:creationId xmlns:a16="http://schemas.microsoft.com/office/drawing/2014/main" id="{3D0EC9D6-0275-4CFE-9F46-A7094C6DCED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62000" y="279806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5730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4" descr="Icon&#10;&#10;Description automatically generated">
            <a:extLst>
              <a:ext uri="{FF2B5EF4-FFF2-40B4-BE49-F238E27FC236}">
                <a16:creationId xmlns:a16="http://schemas.microsoft.com/office/drawing/2014/main" id="{7FBBEA38-ED6A-9072-7891-2C2A5BE2E5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520537" y="1841005"/>
            <a:ext cx="8943108" cy="317598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7EF24973-1282-4295-91F2-D9CB6690C76A}"/>
              </a:ext>
            </a:extLst>
          </p:cNvPr>
          <p:cNvSpPr/>
          <p:nvPr/>
        </p:nvSpPr>
        <p:spPr>
          <a:xfrm>
            <a:off x="1628078" y="1695966"/>
            <a:ext cx="301083" cy="390293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17FEBF6-C5AF-4BC4-B23C-1DBC2830C694}"/>
              </a:ext>
            </a:extLst>
          </p:cNvPr>
          <p:cNvSpPr/>
          <p:nvPr/>
        </p:nvSpPr>
        <p:spPr>
          <a:xfrm>
            <a:off x="3776685" y="5354816"/>
            <a:ext cx="284202" cy="35458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4121E68-049F-4F4D-AB5E-5E773894D308}"/>
              </a:ext>
            </a:extLst>
          </p:cNvPr>
          <p:cNvSpPr/>
          <p:nvPr/>
        </p:nvSpPr>
        <p:spPr>
          <a:xfrm>
            <a:off x="8699900" y="1240381"/>
            <a:ext cx="284202" cy="354585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E8D1F69-73D1-45CB-B376-B21D9F8DBE67}"/>
              </a:ext>
            </a:extLst>
          </p:cNvPr>
          <p:cNvSpPr txBox="1"/>
          <p:nvPr/>
        </p:nvSpPr>
        <p:spPr>
          <a:xfrm>
            <a:off x="8071788" y="885579"/>
            <a:ext cx="3918654" cy="127727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Éducation sur le vaccin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Explication de ce à quoi s'attendre/de ce qu'il faut faire (effets secondaires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éponses aux questions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49731BE-248C-4D85-9E6A-2AF53ED1B81D}"/>
              </a:ext>
            </a:extLst>
          </p:cNvPr>
          <p:cNvSpPr/>
          <p:nvPr/>
        </p:nvSpPr>
        <p:spPr>
          <a:xfrm>
            <a:off x="8699899" y="5059186"/>
            <a:ext cx="235641" cy="36473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" sz="16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0C69EB93-781F-4E1B-B4AC-83AEB123382E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rgbClr val="A5A5A5">
                <a:shade val="45000"/>
                <a:satMod val="135000"/>
              </a:srgb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artisticPhotocopy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01992" y="6986459"/>
            <a:ext cx="478466" cy="45058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C65023BF-C0C5-4A7B-9BFF-A6D88646F4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3407" y="223629"/>
            <a:ext cx="11572758" cy="777875"/>
          </a:xfrm>
        </p:spPr>
        <p:txBody>
          <a:bodyPr lIns="91440" tIns="45720" rIns="91440" bIns="45720" anchor="t">
            <a:noAutofit/>
          </a:bodyPr>
          <a:lstStyle/>
          <a:p>
            <a:r>
              <a:rPr lang="fr" sz="3600" b="1" i="0" u="none" baseline="0">
                <a:latin typeface="Poppins"/>
                <a:cs typeface="Poppins"/>
              </a:rPr>
              <a:t>Cartographie des obstacles et des facteurs sur </a:t>
            </a:r>
            <a:r>
              <a:rPr lang="fr" sz="3600">
                <a:latin typeface="Poppins"/>
                <a:cs typeface="Poppins"/>
              </a:rPr>
              <a:t>le diagramme</a:t>
            </a:r>
            <a:r>
              <a:rPr lang="fr" sz="3600" b="1" i="0" u="none" baseline="0">
                <a:latin typeface="Poppins"/>
                <a:cs typeface="Poppins"/>
              </a:rPr>
              <a:t> « Parcours vers la vaccination » :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ED157983-77C2-4853-889B-AE9B3E30C06A}"/>
              </a:ext>
            </a:extLst>
          </p:cNvPr>
          <p:cNvSpPr txBox="1"/>
          <p:nvPr/>
        </p:nvSpPr>
        <p:spPr>
          <a:xfrm>
            <a:off x="548691" y="4874769"/>
            <a:ext cx="2422571" cy="178510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onfiance envers les institutions de vaccin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vantages de la vaccin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Normes relatives à la vaccination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B9E67C9-2A98-41A0-A55C-4A72ACD8F6AA}"/>
              </a:ext>
            </a:extLst>
          </p:cNvPr>
          <p:cNvSpPr txBox="1"/>
          <p:nvPr/>
        </p:nvSpPr>
        <p:spPr>
          <a:xfrm>
            <a:off x="4835086" y="4656331"/>
            <a:ext cx="2309476" cy="212365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Prise de rendez-vou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rais de vaccination/rendez-vou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Logistique pour se rendre au rendez-vous ou en reveni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Temps passé au rendez-vou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19164092-2188-4723-87C5-84A7EF7C4EC8}"/>
              </a:ext>
            </a:extLst>
          </p:cNvPr>
          <p:cNvSpPr txBox="1"/>
          <p:nvPr/>
        </p:nvSpPr>
        <p:spPr>
          <a:xfrm>
            <a:off x="6409348" y="3104268"/>
            <a:ext cx="2811995" cy="93871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Commodité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ccessibilité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écurité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084B1A2E-E2B6-44FC-B892-8621299BABB6}"/>
              </a:ext>
            </a:extLst>
          </p:cNvPr>
          <p:cNvSpPr txBox="1"/>
          <p:nvPr/>
        </p:nvSpPr>
        <p:spPr>
          <a:xfrm>
            <a:off x="8548066" y="5059186"/>
            <a:ext cx="2989509" cy="1277273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Facilité d'obtenir un rendez-vous pour la deuxième dose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urveillance des événements indésirabl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enforcement positif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fr" sz="11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Poppins" panose="00000500000000000000" pitchFamily="2" charset="0"/>
              <a:cs typeface="Poppi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 </a:t>
            </a:r>
          </a:p>
        </p:txBody>
      </p:sp>
      <p:sp>
        <p:nvSpPr>
          <p:cNvPr id="31" name="Flowchart: Process 30">
            <a:extLst>
              <a:ext uri="{FF2B5EF4-FFF2-40B4-BE49-F238E27FC236}">
                <a16:creationId xmlns:a16="http://schemas.microsoft.com/office/drawing/2014/main" id="{DA2616A6-3F87-4BD0-A83E-9D2E25CFDE45}"/>
              </a:ext>
            </a:extLst>
          </p:cNvPr>
          <p:cNvSpPr/>
          <p:nvPr/>
        </p:nvSpPr>
        <p:spPr>
          <a:xfrm>
            <a:off x="97344" y="5981481"/>
            <a:ext cx="3126484" cy="478465"/>
          </a:xfrm>
          <a:prstGeom prst="flowChartProcess">
            <a:avLst/>
          </a:prstGeom>
          <a:solidFill>
            <a:sysClr val="window" lastClr="FFFFFF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>
            <a:defPPr>
              <a:defRPr lang="fr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" sz="1100" b="0" i="0" u="none" strike="noStrike" kern="1200" cap="none" spc="0" normalizeH="0" baseline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Adapté du Journey to Health de l'UNICEF, réunion du réseau ESARO, 2019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446E1EF-0C83-4CFD-AF30-BD361B778A6E}"/>
              </a:ext>
            </a:extLst>
          </p:cNvPr>
          <p:cNvSpPr txBox="1"/>
          <p:nvPr/>
        </p:nvSpPr>
        <p:spPr>
          <a:xfrm>
            <a:off x="552676" y="1601723"/>
            <a:ext cx="3123959" cy="60016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usceptibilité et gravité de la COVID-19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Sécurité et efficacité des vacci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fr" sz="11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Poppins" panose="00000500000000000000" pitchFamily="2" charset="0"/>
                <a:cs typeface="Poppins" panose="00000500000000000000" pitchFamily="2" charset="0"/>
              </a:rPr>
              <a:t>Recommandations de vaccination</a:t>
            </a:r>
          </a:p>
        </p:txBody>
      </p:sp>
    </p:spTree>
    <p:extLst>
      <p:ext uri="{BB962C8B-B14F-4D97-AF65-F5344CB8AC3E}">
        <p14:creationId xmlns:p14="http://schemas.microsoft.com/office/powerpoint/2010/main" val="32783110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LHzm.oeOb1bwfpBs0fY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o7_3qjqHV5WQG8hzlRBn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aster">
  <a:themeElements>
    <a:clrScheme name="master 2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FBDF53"/>
      </a:accent1>
      <a:accent2>
        <a:srgbClr val="FF9966"/>
      </a:accent2>
      <a:accent3>
        <a:srgbClr val="FFFFFF"/>
      </a:accent3>
      <a:accent4>
        <a:srgbClr val="000000"/>
      </a:accent4>
      <a:accent5>
        <a:srgbClr val="FDECB3"/>
      </a:accent5>
      <a:accent6>
        <a:srgbClr val="E78A5C"/>
      </a:accent6>
      <a:hlink>
        <a:srgbClr val="CC3300"/>
      </a:hlink>
      <a:folHlink>
        <a:srgbClr val="996600"/>
      </a:folHlink>
    </a:clrScheme>
    <a:fontScheme name="master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1042988" rtl="1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3900" b="1" i="0" u="none" strike="noStrike" cap="none" normalizeH="0" baseline="0" smtClean="0">
            <a:ln>
              <a:noFill/>
            </a:ln>
            <a:solidFill>
              <a:srgbClr val="000066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master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aster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aster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Master">
  <a:themeElements>
    <a:clrScheme name="Custom 2">
      <a:dk1>
        <a:srgbClr val="0F56DC"/>
      </a:dk1>
      <a:lt1>
        <a:srgbClr val="FFC000"/>
      </a:lt1>
      <a:dk2>
        <a:srgbClr val="FFFFFF"/>
      </a:dk2>
      <a:lt2>
        <a:srgbClr val="FFFFFF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3077FF"/>
      </a:folHlink>
    </a:clrScheme>
    <a:fontScheme name="CDC Myriad Web Pro">
      <a:majorFont>
        <a:latin typeface="Myriad Web Pro"/>
        <a:ea typeface=""/>
        <a:cs typeface=""/>
      </a:majorFont>
      <a:minorFont>
        <a:latin typeface="Myriad Web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comp training ppt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comp training ppt theme" id="{38E2F2EF-C4AB-4166-AC88-AF211F03C7E1}" vid="{7421EA10-7307-4866-8A4B-942296AE7893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420</Words>
  <Application>Microsoft Office PowerPoint</Application>
  <PresentationFormat>Widescreen</PresentationFormat>
  <Paragraphs>132</Paragraphs>
  <Slides>18</Slides>
  <Notes>7</Notes>
  <HiddenSlides>0</HiddenSlides>
  <MMClips>1</MMClips>
  <ScaleCrop>false</ScaleCrop>
  <HeadingPairs>
    <vt:vector size="8" baseType="variant">
      <vt:variant>
        <vt:lpstr>Fonts Used</vt:lpstr>
      </vt:variant>
      <vt:variant>
        <vt:i4>1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18</vt:i4>
      </vt:variant>
    </vt:vector>
  </HeadingPairs>
  <TitlesOfParts>
    <vt:vector size="38" baseType="lpstr">
      <vt:lpstr>Arial</vt:lpstr>
      <vt:lpstr>Arial Black</vt:lpstr>
      <vt:lpstr>Arial Narrow</vt:lpstr>
      <vt:lpstr>Biome</vt:lpstr>
      <vt:lpstr>Calibri</vt:lpstr>
      <vt:lpstr>Calibri Light</vt:lpstr>
      <vt:lpstr>Courier New</vt:lpstr>
      <vt:lpstr>Myriad Web Pro</vt:lpstr>
      <vt:lpstr>Poppins</vt:lpstr>
      <vt:lpstr>Poppins ExtraBold</vt:lpstr>
      <vt:lpstr>Poppins Light</vt:lpstr>
      <vt:lpstr>Roboto Light</vt:lpstr>
      <vt:lpstr>Roboto Medium</vt:lpstr>
      <vt:lpstr>Wingdings</vt:lpstr>
      <vt:lpstr>Office Theme</vt:lpstr>
      <vt:lpstr>master</vt:lpstr>
      <vt:lpstr>1_Master</vt:lpstr>
      <vt:lpstr>comp training ppt theme</vt:lpstr>
      <vt:lpstr>think-cell Slide</vt:lpstr>
      <vt:lpstr>Diapositive think-cell</vt:lpstr>
      <vt:lpstr>Le parcours de Fikile : Mise à l'épreuve du parcours vers la vaccination</vt:lpstr>
      <vt:lpstr>Objectifs d’apprentissage</vt:lpstr>
      <vt:lpstr>PowerPoint Presentation</vt:lpstr>
      <vt:lpstr>EXERCICE SUR LE PARCOURS VERS LA  VACCINATION</vt:lpstr>
      <vt:lpstr>Définition du contexte</vt:lpstr>
      <vt:lpstr>Exercice sur le parcours vers la vaccination : Faites la connaissance de Fikile</vt:lpstr>
      <vt:lpstr>Exercice sur le parcours vers la vaccination : Faites la connaissance de Fikile</vt:lpstr>
      <vt:lpstr>Cartographiez le parcours de Fikile</vt:lpstr>
      <vt:lpstr>Cartographie des obstacles et des facteurs sur le diagramme « Parcours vers la vaccination » :</vt:lpstr>
      <vt:lpstr>PowerPoint Presentation</vt:lpstr>
      <vt:lpstr>PowerPoint Presentation</vt:lpstr>
      <vt:lpstr>La promotion de la demande va au-delà  de la communication</vt:lpstr>
      <vt:lpstr>Principaux éléments à retenir</vt:lpstr>
      <vt:lpstr>Messages clés</vt:lpstr>
      <vt:lpstr>Des questions ?</vt:lpstr>
      <vt:lpstr>PowerPoint Presentation</vt:lpstr>
      <vt:lpstr>PowerPoint Presentation</vt:lpstr>
      <vt:lpstr>Exemple de pays : Inde</vt:lpstr>
    </vt:vector>
  </TitlesOfParts>
  <Company>Centers for Disease Control and Preven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lth Communication for Behavior Change</dc:title>
  <dc:creator>Wilhelm, Elisabeth (CDC/CGH/GID)</dc:creator>
  <cp:lastModifiedBy>Crystal Bruce</cp:lastModifiedBy>
  <cp:revision>17</cp:revision>
  <dcterms:created xsi:type="dcterms:W3CDTF">2018-04-30T17:58:26Z</dcterms:created>
  <dcterms:modified xsi:type="dcterms:W3CDTF">2022-07-22T13:51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b94a7b8-f06c-4dfe-bdcc-9b548fd58c31_Enabled">
    <vt:lpwstr>true</vt:lpwstr>
  </property>
  <property fmtid="{D5CDD505-2E9C-101B-9397-08002B2CF9AE}" pid="3" name="MSIP_Label_7b94a7b8-f06c-4dfe-bdcc-9b548fd58c31_SetDate">
    <vt:lpwstr>2022-05-22T19:53:03Z</vt:lpwstr>
  </property>
  <property fmtid="{D5CDD505-2E9C-101B-9397-08002B2CF9AE}" pid="4" name="MSIP_Label_7b94a7b8-f06c-4dfe-bdcc-9b548fd58c31_Method">
    <vt:lpwstr>Privileged</vt:lpwstr>
  </property>
  <property fmtid="{D5CDD505-2E9C-101B-9397-08002B2CF9AE}" pid="5" name="MSIP_Label_7b94a7b8-f06c-4dfe-bdcc-9b548fd58c31_Name">
    <vt:lpwstr>7b94a7b8-f06c-4dfe-bdcc-9b548fd58c31</vt:lpwstr>
  </property>
  <property fmtid="{D5CDD505-2E9C-101B-9397-08002B2CF9AE}" pid="6" name="MSIP_Label_7b94a7b8-f06c-4dfe-bdcc-9b548fd58c31_SiteId">
    <vt:lpwstr>9ce70869-60db-44fd-abe8-d2767077fc8f</vt:lpwstr>
  </property>
  <property fmtid="{D5CDD505-2E9C-101B-9397-08002B2CF9AE}" pid="7" name="MSIP_Label_7b94a7b8-f06c-4dfe-bdcc-9b548fd58c31_ActionId">
    <vt:lpwstr>3134d6ea-2494-4c24-ae65-1460d3ace11a</vt:lpwstr>
  </property>
  <property fmtid="{D5CDD505-2E9C-101B-9397-08002B2CF9AE}" pid="8" name="MSIP_Label_7b94a7b8-f06c-4dfe-bdcc-9b548fd58c31_ContentBits">
    <vt:lpwstr>0</vt:lpwstr>
  </property>
</Properties>
</file>